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charts/colors1.xml" ContentType="application/vnd.ms-office.chartcolorstyle+xml"/>
  <Override PartName="/ppt/charts/colors10.xml" ContentType="application/vnd.ms-office.chartcolorstyle+xml"/>
  <Override PartName="/ppt/charts/colors11.xml" ContentType="application/vnd.ms-office.chartcolorstyle+xml"/>
  <Override PartName="/ppt/charts/colors12.xml" ContentType="application/vnd.ms-office.chartcolorstyle+xml"/>
  <Override PartName="/ppt/charts/colors13.xml" ContentType="application/vnd.ms-office.chartcolorstyle+xml"/>
  <Override PartName="/ppt/charts/colors14.xml" ContentType="application/vnd.ms-office.chartcolorstyle+xml"/>
  <Override PartName="/ppt/charts/colors15.xml" ContentType="application/vnd.ms-office.chartcolorstyle+xml"/>
  <Override PartName="/ppt/charts/colors16.xml" ContentType="application/vnd.ms-office.chartcolorstyle+xml"/>
  <Override PartName="/ppt/charts/colors17.xml" ContentType="application/vnd.ms-office.chartcolorstyle+xml"/>
  <Override PartName="/ppt/charts/colors18.xml" ContentType="application/vnd.ms-office.chartcolorstyle+xml"/>
  <Override PartName="/ppt/charts/colors19.xml" ContentType="application/vnd.ms-office.chartcolorstyle+xml"/>
  <Override PartName="/ppt/charts/colors2.xml" ContentType="application/vnd.ms-office.chartcolorstyle+xml"/>
  <Override PartName="/ppt/charts/colors20.xml" ContentType="application/vnd.ms-office.chartcolorstyle+xml"/>
  <Override PartName="/ppt/charts/colors21.xml" ContentType="application/vnd.ms-office.chartcolorstyle+xml"/>
  <Override PartName="/ppt/charts/colors22.xml" ContentType="application/vnd.ms-office.chartcolorstyle+xml"/>
  <Override PartName="/ppt/charts/colors23.xml" ContentType="application/vnd.ms-office.chartcolorstyle+xml"/>
  <Override PartName="/ppt/charts/colors24.xml" ContentType="application/vnd.ms-office.chartcolorstyle+xml"/>
  <Override PartName="/ppt/charts/colors25.xml" ContentType="application/vnd.ms-office.chartcolorstyle+xml"/>
  <Override PartName="/ppt/charts/colors26.xml" ContentType="application/vnd.ms-office.chartcolorstyle+xml"/>
  <Override PartName="/ppt/charts/colors27.xml" ContentType="application/vnd.ms-office.chartcolorstyle+xml"/>
  <Override PartName="/ppt/charts/colors28.xml" ContentType="application/vnd.ms-office.chartcolorstyle+xml"/>
  <Override PartName="/ppt/charts/colors29.xml" ContentType="application/vnd.ms-office.chartcolorstyle+xml"/>
  <Override PartName="/ppt/charts/colors3.xml" ContentType="application/vnd.ms-office.chartcolorstyle+xml"/>
  <Override PartName="/ppt/charts/colors30.xml" ContentType="application/vnd.ms-office.chartcolorstyle+xml"/>
  <Override PartName="/ppt/charts/colors31.xml" ContentType="application/vnd.ms-office.chartcolorstyle+xml"/>
  <Override PartName="/ppt/charts/colors32.xml" ContentType="application/vnd.ms-office.chartcolorstyle+xml"/>
  <Override PartName="/ppt/charts/colors33.xml" ContentType="application/vnd.ms-office.chartcolorstyle+xml"/>
  <Override PartName="/ppt/charts/colors34.xml" ContentType="application/vnd.ms-office.chartcolorstyle+xml"/>
  <Override PartName="/ppt/charts/colors35.xml" ContentType="application/vnd.ms-office.chartcolorstyle+xml"/>
  <Override PartName="/ppt/charts/colors36.xml" ContentType="application/vnd.ms-office.chartcolorstyle+xml"/>
  <Override PartName="/ppt/charts/colors37.xml" ContentType="application/vnd.ms-office.chartcolorstyle+xml"/>
  <Override PartName="/ppt/charts/colors38.xml" ContentType="application/vnd.ms-office.chartcolorstyle+xml"/>
  <Override PartName="/ppt/charts/colors39.xml" ContentType="application/vnd.ms-office.chartcolorstyle+xml"/>
  <Override PartName="/ppt/charts/colors4.xml" ContentType="application/vnd.ms-office.chartcolorstyle+xml"/>
  <Override PartName="/ppt/charts/colors40.xml" ContentType="application/vnd.ms-office.chartcolorstyle+xml"/>
  <Override PartName="/ppt/charts/colors41.xml" ContentType="application/vnd.ms-office.chartcolorstyle+xml"/>
  <Override PartName="/ppt/charts/colors42.xml" ContentType="application/vnd.ms-office.chartcolorstyle+xml"/>
  <Override PartName="/ppt/charts/colors43.xml" ContentType="application/vnd.ms-office.chartcolorstyle+xml"/>
  <Override PartName="/ppt/charts/colors44.xml" ContentType="application/vnd.ms-office.chartcolorstyle+xml"/>
  <Override PartName="/ppt/charts/colors45.xml" ContentType="application/vnd.ms-office.chartcolorstyle+xml"/>
  <Override PartName="/ppt/charts/colors46.xml" ContentType="application/vnd.ms-office.chartcolorstyle+xml"/>
  <Override PartName="/ppt/charts/colors47.xml" ContentType="application/vnd.ms-office.chartcolorstyle+xml"/>
  <Override PartName="/ppt/charts/colors48.xml" ContentType="application/vnd.ms-office.chartcolorstyle+xml"/>
  <Override PartName="/ppt/charts/colors49.xml" ContentType="application/vnd.ms-office.chartcolorstyle+xml"/>
  <Override PartName="/ppt/charts/colors5.xml" ContentType="application/vnd.ms-office.chartcolorstyle+xml"/>
  <Override PartName="/ppt/charts/colors50.xml" ContentType="application/vnd.ms-office.chartcolorstyle+xml"/>
  <Override PartName="/ppt/charts/colors51.xml" ContentType="application/vnd.ms-office.chartcolorstyle+xml"/>
  <Override PartName="/ppt/charts/colors6.xml" ContentType="application/vnd.ms-office.chartcolorstyle+xml"/>
  <Override PartName="/ppt/charts/colors7.xml" ContentType="application/vnd.ms-office.chartcolorstyle+xml"/>
  <Override PartName="/ppt/charts/colors8.xml" ContentType="application/vnd.ms-office.chartcolorstyle+xml"/>
  <Override PartName="/ppt/charts/colors9.xml" ContentType="application/vnd.ms-office.chartcolorstyle+xml"/>
  <Override PartName="/ppt/charts/style1.xml" ContentType="application/vnd.ms-office.chartstyle+xml"/>
  <Override PartName="/ppt/charts/style10.xml" ContentType="application/vnd.ms-office.chartstyle+xml"/>
  <Override PartName="/ppt/charts/style11.xml" ContentType="application/vnd.ms-office.chartstyle+xml"/>
  <Override PartName="/ppt/charts/style12.xml" ContentType="application/vnd.ms-office.chartstyle+xml"/>
  <Override PartName="/ppt/charts/style13.xml" ContentType="application/vnd.ms-office.chartstyle+xml"/>
  <Override PartName="/ppt/charts/style14.xml" ContentType="application/vnd.ms-office.chartstyle+xml"/>
  <Override PartName="/ppt/charts/style15.xml" ContentType="application/vnd.ms-office.chartstyle+xml"/>
  <Override PartName="/ppt/charts/style16.xml" ContentType="application/vnd.ms-office.chartstyle+xml"/>
  <Override PartName="/ppt/charts/style17.xml" ContentType="application/vnd.ms-office.chartstyle+xml"/>
  <Override PartName="/ppt/charts/style18.xml" ContentType="application/vnd.ms-office.chartstyle+xml"/>
  <Override PartName="/ppt/charts/style19.xml" ContentType="application/vnd.ms-office.chartstyle+xml"/>
  <Override PartName="/ppt/charts/style2.xml" ContentType="application/vnd.ms-office.chartstyle+xml"/>
  <Override PartName="/ppt/charts/style20.xml" ContentType="application/vnd.ms-office.chartstyle+xml"/>
  <Override PartName="/ppt/charts/style21.xml" ContentType="application/vnd.ms-office.chartstyle+xml"/>
  <Override PartName="/ppt/charts/style22.xml" ContentType="application/vnd.ms-office.chartstyle+xml"/>
  <Override PartName="/ppt/charts/style23.xml" ContentType="application/vnd.ms-office.chartstyle+xml"/>
  <Override PartName="/ppt/charts/style24.xml" ContentType="application/vnd.ms-office.chartstyle+xml"/>
  <Override PartName="/ppt/charts/style25.xml" ContentType="application/vnd.ms-office.chartstyle+xml"/>
  <Override PartName="/ppt/charts/style26.xml" ContentType="application/vnd.ms-office.chartstyle+xml"/>
  <Override PartName="/ppt/charts/style27.xml" ContentType="application/vnd.ms-office.chartstyle+xml"/>
  <Override PartName="/ppt/charts/style28.xml" ContentType="application/vnd.ms-office.chartstyle+xml"/>
  <Override PartName="/ppt/charts/style29.xml" ContentType="application/vnd.ms-office.chartstyle+xml"/>
  <Override PartName="/ppt/charts/style3.xml" ContentType="application/vnd.ms-office.chartstyle+xml"/>
  <Override PartName="/ppt/charts/style30.xml" ContentType="application/vnd.ms-office.chartstyle+xml"/>
  <Override PartName="/ppt/charts/style31.xml" ContentType="application/vnd.ms-office.chartstyle+xml"/>
  <Override PartName="/ppt/charts/style32.xml" ContentType="application/vnd.ms-office.chartstyle+xml"/>
  <Override PartName="/ppt/charts/style33.xml" ContentType="application/vnd.ms-office.chartstyle+xml"/>
  <Override PartName="/ppt/charts/style34.xml" ContentType="application/vnd.ms-office.chartstyle+xml"/>
  <Override PartName="/ppt/charts/style35.xml" ContentType="application/vnd.ms-office.chartstyle+xml"/>
  <Override PartName="/ppt/charts/style36.xml" ContentType="application/vnd.ms-office.chartstyle+xml"/>
  <Override PartName="/ppt/charts/style37.xml" ContentType="application/vnd.ms-office.chartstyle+xml"/>
  <Override PartName="/ppt/charts/style38.xml" ContentType="application/vnd.ms-office.chartstyle+xml"/>
  <Override PartName="/ppt/charts/style39.xml" ContentType="application/vnd.ms-office.chartstyle+xml"/>
  <Override PartName="/ppt/charts/style4.xml" ContentType="application/vnd.ms-office.chartstyle+xml"/>
  <Override PartName="/ppt/charts/style40.xml" ContentType="application/vnd.ms-office.chartstyle+xml"/>
  <Override PartName="/ppt/charts/style41.xml" ContentType="application/vnd.ms-office.chartstyle+xml"/>
  <Override PartName="/ppt/charts/style42.xml" ContentType="application/vnd.ms-office.chartstyle+xml"/>
  <Override PartName="/ppt/charts/style43.xml" ContentType="application/vnd.ms-office.chartstyle+xml"/>
  <Override PartName="/ppt/charts/style44.xml" ContentType="application/vnd.ms-office.chartstyle+xml"/>
  <Override PartName="/ppt/charts/style45.xml" ContentType="application/vnd.ms-office.chartstyle+xml"/>
  <Override PartName="/ppt/charts/style46.xml" ContentType="application/vnd.ms-office.chartstyle+xml"/>
  <Override PartName="/ppt/charts/style47.xml" ContentType="application/vnd.ms-office.chartstyle+xml"/>
  <Override PartName="/ppt/charts/style48.xml" ContentType="application/vnd.ms-office.chartstyle+xml"/>
  <Override PartName="/ppt/charts/style49.xml" ContentType="application/vnd.ms-office.chartstyle+xml"/>
  <Override PartName="/ppt/charts/style5.xml" ContentType="application/vnd.ms-office.chartstyle+xml"/>
  <Override PartName="/ppt/charts/style50.xml" ContentType="application/vnd.ms-office.chartstyle+xml"/>
  <Override PartName="/ppt/charts/style51.xml" ContentType="application/vnd.ms-office.chartstyle+xml"/>
  <Override PartName="/ppt/charts/style6.xml" ContentType="application/vnd.ms-office.chartstyle+xml"/>
  <Override PartName="/ppt/charts/style7.xml" ContentType="application/vnd.ms-office.chartstyle+xml"/>
  <Override PartName="/ppt/charts/style8.xml" ContentType="application/vnd.ms-office.chartstyle+xml"/>
  <Override PartName="/ppt/charts/style9.xml" ContentType="application/vnd.ms-office.chartstyle+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28.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xml" ContentType="application/vnd.openxmlformats-officedocument.presentationml.notesSlide+xml"/>
  <Override PartName="/ppt/notesSlides/notesSlide80.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Override1.xml" ContentType="application/vnd.openxmlformats-officedocument.themeOverride+xml"/>
  <Override PartName="/ppt/theme/themeOverride10.xml" ContentType="application/vnd.openxmlformats-officedocument.themeOverride+xml"/>
  <Override PartName="/ppt/theme/themeOverride100.xml" ContentType="application/vnd.openxmlformats-officedocument.themeOverride+xml"/>
  <Override PartName="/ppt/theme/themeOverride101.xml" ContentType="application/vnd.openxmlformats-officedocument.themeOverride+xml"/>
  <Override PartName="/ppt/theme/themeOverride102.xml" ContentType="application/vnd.openxmlformats-officedocument.themeOverride+xml"/>
  <Override PartName="/ppt/theme/themeOverride103.xml" ContentType="application/vnd.openxmlformats-officedocument.themeOverride+xml"/>
  <Override PartName="/ppt/theme/themeOverride104.xml" ContentType="application/vnd.openxmlformats-officedocument.themeOverride+xml"/>
  <Override PartName="/ppt/theme/themeOverride105.xml" ContentType="application/vnd.openxmlformats-officedocument.themeOverride+xml"/>
  <Override PartName="/ppt/theme/themeOverride106.xml" ContentType="application/vnd.openxmlformats-officedocument.themeOverride+xml"/>
  <Override PartName="/ppt/theme/themeOverride107.xml" ContentType="application/vnd.openxmlformats-officedocument.themeOverride+xml"/>
  <Override PartName="/ppt/theme/themeOverride108.xml" ContentType="application/vnd.openxmlformats-officedocument.themeOverride+xml"/>
  <Override PartName="/ppt/theme/themeOverride109.xml" ContentType="application/vnd.openxmlformats-officedocument.themeOverride+xml"/>
  <Override PartName="/ppt/theme/themeOverride11.xml" ContentType="application/vnd.openxmlformats-officedocument.themeOverride+xml"/>
  <Override PartName="/ppt/theme/themeOverride110.xml" ContentType="application/vnd.openxmlformats-officedocument.themeOverride+xml"/>
  <Override PartName="/ppt/theme/themeOverride111.xml" ContentType="application/vnd.openxmlformats-officedocument.themeOverride+xml"/>
  <Override PartName="/ppt/theme/themeOverride112.xml" ContentType="application/vnd.openxmlformats-officedocument.themeOverride+xml"/>
  <Override PartName="/ppt/theme/themeOverride113.xml" ContentType="application/vnd.openxmlformats-officedocument.themeOverride+xml"/>
  <Override PartName="/ppt/theme/themeOverride114.xml" ContentType="application/vnd.openxmlformats-officedocument.themeOverride+xml"/>
  <Override PartName="/ppt/theme/themeOverride115.xml" ContentType="application/vnd.openxmlformats-officedocument.themeOverride+xml"/>
  <Override PartName="/ppt/theme/themeOverride116.xml" ContentType="application/vnd.openxmlformats-officedocument.themeOverride+xml"/>
  <Override PartName="/ppt/theme/themeOverride117.xml" ContentType="application/vnd.openxmlformats-officedocument.themeOverride+xml"/>
  <Override PartName="/ppt/theme/themeOverride118.xml" ContentType="application/vnd.openxmlformats-officedocument.themeOverride+xml"/>
  <Override PartName="/ppt/theme/themeOverride119.xml" ContentType="application/vnd.openxmlformats-officedocument.themeOverride+xml"/>
  <Override PartName="/ppt/theme/themeOverride12.xml" ContentType="application/vnd.openxmlformats-officedocument.themeOverride+xml"/>
  <Override PartName="/ppt/theme/themeOverride120.xml" ContentType="application/vnd.openxmlformats-officedocument.themeOverride+xml"/>
  <Override PartName="/ppt/theme/themeOverride121.xml" ContentType="application/vnd.openxmlformats-officedocument.themeOverride+xml"/>
  <Override PartName="/ppt/theme/themeOverride122.xml" ContentType="application/vnd.openxmlformats-officedocument.themeOverride+xml"/>
  <Override PartName="/ppt/theme/themeOverride123.xml" ContentType="application/vnd.openxmlformats-officedocument.themeOverride+xml"/>
  <Override PartName="/ppt/theme/themeOverride124.xml" ContentType="application/vnd.openxmlformats-officedocument.themeOverride+xml"/>
  <Override PartName="/ppt/theme/themeOverride125.xml" ContentType="application/vnd.openxmlformats-officedocument.themeOverride+xml"/>
  <Override PartName="/ppt/theme/themeOverride126.xml" ContentType="application/vnd.openxmlformats-officedocument.themeOverride+xml"/>
  <Override PartName="/ppt/theme/themeOverride127.xml" ContentType="application/vnd.openxmlformats-officedocument.themeOverride+xml"/>
  <Override PartName="/ppt/theme/themeOverride128.xml" ContentType="application/vnd.openxmlformats-officedocument.themeOverride+xml"/>
  <Override PartName="/ppt/theme/themeOverride129.xml" ContentType="application/vnd.openxmlformats-officedocument.themeOverride+xml"/>
  <Override PartName="/ppt/theme/themeOverride13.xml" ContentType="application/vnd.openxmlformats-officedocument.themeOverride+xml"/>
  <Override PartName="/ppt/theme/themeOverride130.xml" ContentType="application/vnd.openxmlformats-officedocument.themeOverride+xml"/>
  <Override PartName="/ppt/theme/themeOverride131.xml" ContentType="application/vnd.openxmlformats-officedocument.themeOverride+xml"/>
  <Override PartName="/ppt/theme/themeOverride132.xml" ContentType="application/vnd.openxmlformats-officedocument.themeOverride+xml"/>
  <Override PartName="/ppt/theme/themeOverride133.xml" ContentType="application/vnd.openxmlformats-officedocument.themeOverride+xml"/>
  <Override PartName="/ppt/theme/themeOverride134.xml" ContentType="application/vnd.openxmlformats-officedocument.themeOverride+xml"/>
  <Override PartName="/ppt/theme/themeOverride135.xml" ContentType="application/vnd.openxmlformats-officedocument.themeOverride+xml"/>
  <Override PartName="/ppt/theme/themeOverride136.xml" ContentType="application/vnd.openxmlformats-officedocument.themeOverride+xml"/>
  <Override PartName="/ppt/theme/themeOverride137.xml" ContentType="application/vnd.openxmlformats-officedocument.themeOverride+xml"/>
  <Override PartName="/ppt/theme/themeOverride138.xml" ContentType="application/vnd.openxmlformats-officedocument.themeOverride+xml"/>
  <Override PartName="/ppt/theme/themeOverride139.xml" ContentType="application/vnd.openxmlformats-officedocument.themeOverride+xml"/>
  <Override PartName="/ppt/theme/themeOverride14.xml" ContentType="application/vnd.openxmlformats-officedocument.themeOverride+xml"/>
  <Override PartName="/ppt/theme/themeOverride140.xml" ContentType="application/vnd.openxmlformats-officedocument.themeOverride+xml"/>
  <Override PartName="/ppt/theme/themeOverride141.xml" ContentType="application/vnd.openxmlformats-officedocument.themeOverride+xml"/>
  <Override PartName="/ppt/theme/themeOverride142.xml" ContentType="application/vnd.openxmlformats-officedocument.themeOverride+xml"/>
  <Override PartName="/ppt/theme/themeOverride143.xml" ContentType="application/vnd.openxmlformats-officedocument.themeOverride+xml"/>
  <Override PartName="/ppt/theme/themeOverride144.xml" ContentType="application/vnd.openxmlformats-officedocument.themeOverride+xml"/>
  <Override PartName="/ppt/theme/themeOverride145.xml" ContentType="application/vnd.openxmlformats-officedocument.themeOverride+xml"/>
  <Override PartName="/ppt/theme/themeOverride146.xml" ContentType="application/vnd.openxmlformats-officedocument.themeOverride+xml"/>
  <Override PartName="/ppt/theme/themeOverride147.xml" ContentType="application/vnd.openxmlformats-officedocument.themeOverride+xml"/>
  <Override PartName="/ppt/theme/themeOverride148.xml" ContentType="application/vnd.openxmlformats-officedocument.themeOverride+xml"/>
  <Override PartName="/ppt/theme/themeOverride149.xml" ContentType="application/vnd.openxmlformats-officedocument.themeOverride+xml"/>
  <Override PartName="/ppt/theme/themeOverride15.xml" ContentType="application/vnd.openxmlformats-officedocument.themeOverride+xml"/>
  <Override PartName="/ppt/theme/themeOverride150.xml" ContentType="application/vnd.openxmlformats-officedocument.themeOverride+xml"/>
  <Override PartName="/ppt/theme/themeOverride151.xml" ContentType="application/vnd.openxmlformats-officedocument.themeOverride+xml"/>
  <Override PartName="/ppt/theme/themeOverride152.xml" ContentType="application/vnd.openxmlformats-officedocument.themeOverride+xml"/>
  <Override PartName="/ppt/theme/themeOverride153.xml" ContentType="application/vnd.openxmlformats-officedocument.themeOverride+xml"/>
  <Override PartName="/ppt/theme/themeOverride154.xml" ContentType="application/vnd.openxmlformats-officedocument.themeOverride+xml"/>
  <Override PartName="/ppt/theme/themeOverride155.xml" ContentType="application/vnd.openxmlformats-officedocument.themeOverride+xml"/>
  <Override PartName="/ppt/theme/themeOverride156.xml" ContentType="application/vnd.openxmlformats-officedocument.themeOverride+xml"/>
  <Override PartName="/ppt/theme/themeOverride157.xml" ContentType="application/vnd.openxmlformats-officedocument.themeOverride+xml"/>
  <Override PartName="/ppt/theme/themeOverride158.xml" ContentType="application/vnd.openxmlformats-officedocument.themeOverride+xml"/>
  <Override PartName="/ppt/theme/themeOverride159.xml" ContentType="application/vnd.openxmlformats-officedocument.themeOverride+xml"/>
  <Override PartName="/ppt/theme/themeOverride16.xml" ContentType="application/vnd.openxmlformats-officedocument.themeOverride+xml"/>
  <Override PartName="/ppt/theme/themeOverride160.xml" ContentType="application/vnd.openxmlformats-officedocument.themeOverride+xml"/>
  <Override PartName="/ppt/theme/themeOverride161.xml" ContentType="application/vnd.openxmlformats-officedocument.themeOverride+xml"/>
  <Override PartName="/ppt/theme/themeOverride162.xml" ContentType="application/vnd.openxmlformats-officedocument.themeOverride+xml"/>
  <Override PartName="/ppt/theme/themeOverride163.xml" ContentType="application/vnd.openxmlformats-officedocument.themeOverride+xml"/>
  <Override PartName="/ppt/theme/themeOverride164.xml" ContentType="application/vnd.openxmlformats-officedocument.themeOverride+xml"/>
  <Override PartName="/ppt/theme/themeOverride165.xml" ContentType="application/vnd.openxmlformats-officedocument.themeOverride+xml"/>
  <Override PartName="/ppt/theme/themeOverride166.xml" ContentType="application/vnd.openxmlformats-officedocument.themeOverride+xml"/>
  <Override PartName="/ppt/theme/themeOverride167.xml" ContentType="application/vnd.openxmlformats-officedocument.themeOverride+xml"/>
  <Override PartName="/ppt/theme/themeOverride168.xml" ContentType="application/vnd.openxmlformats-officedocument.themeOverride+xml"/>
  <Override PartName="/ppt/theme/themeOverride169.xml" ContentType="application/vnd.openxmlformats-officedocument.themeOverride+xml"/>
  <Override PartName="/ppt/theme/themeOverride17.xml" ContentType="application/vnd.openxmlformats-officedocument.themeOverride+xml"/>
  <Override PartName="/ppt/theme/themeOverride170.xml" ContentType="application/vnd.openxmlformats-officedocument.themeOverride+xml"/>
  <Override PartName="/ppt/theme/themeOverride171.xml" ContentType="application/vnd.openxmlformats-officedocument.themeOverride+xml"/>
  <Override PartName="/ppt/theme/themeOverride172.xml" ContentType="application/vnd.openxmlformats-officedocument.themeOverride+xml"/>
  <Override PartName="/ppt/theme/themeOverride173.xml" ContentType="application/vnd.openxmlformats-officedocument.themeOverride+xml"/>
  <Override PartName="/ppt/theme/themeOverride174.xml" ContentType="application/vnd.openxmlformats-officedocument.themeOverride+xml"/>
  <Override PartName="/ppt/theme/themeOverride175.xml" ContentType="application/vnd.openxmlformats-officedocument.themeOverride+xml"/>
  <Override PartName="/ppt/theme/themeOverride176.xml" ContentType="application/vnd.openxmlformats-officedocument.themeOverride+xml"/>
  <Override PartName="/ppt/theme/themeOverride177.xml" ContentType="application/vnd.openxmlformats-officedocument.themeOverride+xml"/>
  <Override PartName="/ppt/theme/themeOverride178.xml" ContentType="application/vnd.openxmlformats-officedocument.themeOverride+xml"/>
  <Override PartName="/ppt/theme/themeOverride179.xml" ContentType="application/vnd.openxmlformats-officedocument.themeOverride+xml"/>
  <Override PartName="/ppt/theme/themeOverride18.xml" ContentType="application/vnd.openxmlformats-officedocument.themeOverride+xml"/>
  <Override PartName="/ppt/theme/themeOverride180.xml" ContentType="application/vnd.openxmlformats-officedocument.themeOverride+xml"/>
  <Override PartName="/ppt/theme/themeOverride181.xml" ContentType="application/vnd.openxmlformats-officedocument.themeOverride+xml"/>
  <Override PartName="/ppt/theme/themeOverride182.xml" ContentType="application/vnd.openxmlformats-officedocument.themeOverride+xml"/>
  <Override PartName="/ppt/theme/themeOverride183.xml" ContentType="application/vnd.openxmlformats-officedocument.themeOverride+xml"/>
  <Override PartName="/ppt/theme/themeOverride184.xml" ContentType="application/vnd.openxmlformats-officedocument.themeOverride+xml"/>
  <Override PartName="/ppt/theme/themeOverride185.xml" ContentType="application/vnd.openxmlformats-officedocument.themeOverride+xml"/>
  <Override PartName="/ppt/theme/themeOverride186.xml" ContentType="application/vnd.openxmlformats-officedocument.themeOverride+xml"/>
  <Override PartName="/ppt/theme/themeOverride187.xml" ContentType="application/vnd.openxmlformats-officedocument.themeOverride+xml"/>
  <Override PartName="/ppt/theme/themeOverride188.xml" ContentType="application/vnd.openxmlformats-officedocument.themeOverride+xml"/>
  <Override PartName="/ppt/theme/themeOverride189.xml" ContentType="application/vnd.openxmlformats-officedocument.themeOverride+xml"/>
  <Override PartName="/ppt/theme/themeOverride19.xml" ContentType="application/vnd.openxmlformats-officedocument.themeOverride+xml"/>
  <Override PartName="/ppt/theme/themeOverride190.xml" ContentType="application/vnd.openxmlformats-officedocument.themeOverride+xml"/>
  <Override PartName="/ppt/theme/themeOverride191.xml" ContentType="application/vnd.openxmlformats-officedocument.themeOverride+xml"/>
  <Override PartName="/ppt/theme/themeOverride192.xml" ContentType="application/vnd.openxmlformats-officedocument.themeOverride+xml"/>
  <Override PartName="/ppt/theme/themeOverride193.xml" ContentType="application/vnd.openxmlformats-officedocument.themeOverride+xml"/>
  <Override PartName="/ppt/theme/themeOverride194.xml" ContentType="application/vnd.openxmlformats-officedocument.themeOverride+xml"/>
  <Override PartName="/ppt/theme/themeOverride195.xml" ContentType="application/vnd.openxmlformats-officedocument.themeOverride+xml"/>
  <Override PartName="/ppt/theme/themeOverride196.xml" ContentType="application/vnd.openxmlformats-officedocument.themeOverride+xml"/>
  <Override PartName="/ppt/theme/themeOverride197.xml" ContentType="application/vnd.openxmlformats-officedocument.themeOverride+xml"/>
  <Override PartName="/ppt/theme/themeOverride198.xml" ContentType="application/vnd.openxmlformats-officedocument.themeOverride+xml"/>
  <Override PartName="/ppt/theme/themeOverride199.xml" ContentType="application/vnd.openxmlformats-officedocument.themeOverride+xml"/>
  <Override PartName="/ppt/theme/themeOverride2.xml" ContentType="application/vnd.openxmlformats-officedocument.themeOverride+xml"/>
  <Override PartName="/ppt/theme/themeOverride20.xml" ContentType="application/vnd.openxmlformats-officedocument.themeOverride+xml"/>
  <Override PartName="/ppt/theme/themeOverride200.xml" ContentType="application/vnd.openxmlformats-officedocument.themeOverride+xml"/>
  <Override PartName="/ppt/theme/themeOverride201.xml" ContentType="application/vnd.openxmlformats-officedocument.themeOverride+xml"/>
  <Override PartName="/ppt/theme/themeOverride202.xml" ContentType="application/vnd.openxmlformats-officedocument.themeOverride+xml"/>
  <Override PartName="/ppt/theme/themeOverride203.xml" ContentType="application/vnd.openxmlformats-officedocument.themeOverride+xml"/>
  <Override PartName="/ppt/theme/themeOverride204.xml" ContentType="application/vnd.openxmlformats-officedocument.themeOverride+xml"/>
  <Override PartName="/ppt/theme/themeOverride205.xml" ContentType="application/vnd.openxmlformats-officedocument.themeOverride+xml"/>
  <Override PartName="/ppt/theme/themeOverride206.xml" ContentType="application/vnd.openxmlformats-officedocument.themeOverride+xml"/>
  <Override PartName="/ppt/theme/themeOverride207.xml" ContentType="application/vnd.openxmlformats-officedocument.themeOverride+xml"/>
  <Override PartName="/ppt/theme/themeOverride208.xml" ContentType="application/vnd.openxmlformats-officedocument.themeOverride+xml"/>
  <Override PartName="/ppt/theme/themeOverride209.xml" ContentType="application/vnd.openxmlformats-officedocument.themeOverride+xml"/>
  <Override PartName="/ppt/theme/themeOverride21.xml" ContentType="application/vnd.openxmlformats-officedocument.themeOverride+xml"/>
  <Override PartName="/ppt/theme/themeOverride210.xml" ContentType="application/vnd.openxmlformats-officedocument.themeOverride+xml"/>
  <Override PartName="/ppt/theme/themeOverride211.xml" ContentType="application/vnd.openxmlformats-officedocument.themeOverride+xml"/>
  <Override PartName="/ppt/theme/themeOverride212.xml" ContentType="application/vnd.openxmlformats-officedocument.themeOverride+xml"/>
  <Override PartName="/ppt/theme/themeOverride22.xml" ContentType="application/vnd.openxmlformats-officedocument.themeOverride+xml"/>
  <Override PartName="/ppt/theme/themeOverride23.xml" ContentType="application/vnd.openxmlformats-officedocument.themeOverride+xml"/>
  <Override PartName="/ppt/theme/themeOverride24.xml" ContentType="application/vnd.openxmlformats-officedocument.themeOverride+xml"/>
  <Override PartName="/ppt/theme/themeOverride25.xml" ContentType="application/vnd.openxmlformats-officedocument.themeOverride+xml"/>
  <Override PartName="/ppt/theme/themeOverride26.xml" ContentType="application/vnd.openxmlformats-officedocument.themeOverride+xml"/>
  <Override PartName="/ppt/theme/themeOverride27.xml" ContentType="application/vnd.openxmlformats-officedocument.themeOverride+xml"/>
  <Override PartName="/ppt/theme/themeOverride28.xml" ContentType="application/vnd.openxmlformats-officedocument.themeOverride+xml"/>
  <Override PartName="/ppt/theme/themeOverride29.xml" ContentType="application/vnd.openxmlformats-officedocument.themeOverride+xml"/>
  <Override PartName="/ppt/theme/themeOverride3.xml" ContentType="application/vnd.openxmlformats-officedocument.themeOverride+xml"/>
  <Override PartName="/ppt/theme/themeOverride30.xml" ContentType="application/vnd.openxmlformats-officedocument.themeOverride+xml"/>
  <Override PartName="/ppt/theme/themeOverride31.xml" ContentType="application/vnd.openxmlformats-officedocument.themeOverride+xml"/>
  <Override PartName="/ppt/theme/themeOverride32.xml" ContentType="application/vnd.openxmlformats-officedocument.themeOverride+xml"/>
  <Override PartName="/ppt/theme/themeOverride33.xml" ContentType="application/vnd.openxmlformats-officedocument.themeOverride+xml"/>
  <Override PartName="/ppt/theme/themeOverride34.xml" ContentType="application/vnd.openxmlformats-officedocument.themeOverride+xml"/>
  <Override PartName="/ppt/theme/themeOverride35.xml" ContentType="application/vnd.openxmlformats-officedocument.themeOverride+xml"/>
  <Override PartName="/ppt/theme/themeOverride36.xml" ContentType="application/vnd.openxmlformats-officedocument.themeOverride+xml"/>
  <Override PartName="/ppt/theme/themeOverride37.xml" ContentType="application/vnd.openxmlformats-officedocument.themeOverride+xml"/>
  <Override PartName="/ppt/theme/themeOverride38.xml" ContentType="application/vnd.openxmlformats-officedocument.themeOverride+xml"/>
  <Override PartName="/ppt/theme/themeOverride39.xml" ContentType="application/vnd.openxmlformats-officedocument.themeOverride+xml"/>
  <Override PartName="/ppt/theme/themeOverride4.xml" ContentType="application/vnd.openxmlformats-officedocument.themeOverride+xml"/>
  <Override PartName="/ppt/theme/themeOverride40.xml" ContentType="application/vnd.openxmlformats-officedocument.themeOverride+xml"/>
  <Override PartName="/ppt/theme/themeOverride41.xml" ContentType="application/vnd.openxmlformats-officedocument.themeOverride+xml"/>
  <Override PartName="/ppt/theme/themeOverride42.xml" ContentType="application/vnd.openxmlformats-officedocument.themeOverride+xml"/>
  <Override PartName="/ppt/theme/themeOverride43.xml" ContentType="application/vnd.openxmlformats-officedocument.themeOverride+xml"/>
  <Override PartName="/ppt/theme/themeOverride44.xml" ContentType="application/vnd.openxmlformats-officedocument.themeOverride+xml"/>
  <Override PartName="/ppt/theme/themeOverride45.xml" ContentType="application/vnd.openxmlformats-officedocument.themeOverride+xml"/>
  <Override PartName="/ppt/theme/themeOverride46.xml" ContentType="application/vnd.openxmlformats-officedocument.themeOverride+xml"/>
  <Override PartName="/ppt/theme/themeOverride47.xml" ContentType="application/vnd.openxmlformats-officedocument.themeOverride+xml"/>
  <Override PartName="/ppt/theme/themeOverride48.xml" ContentType="application/vnd.openxmlformats-officedocument.themeOverride+xml"/>
  <Override PartName="/ppt/theme/themeOverride49.xml" ContentType="application/vnd.openxmlformats-officedocument.themeOverride+xml"/>
  <Override PartName="/ppt/theme/themeOverride5.xml" ContentType="application/vnd.openxmlformats-officedocument.themeOverride+xml"/>
  <Override PartName="/ppt/theme/themeOverride50.xml" ContentType="application/vnd.openxmlformats-officedocument.themeOverride+xml"/>
  <Override PartName="/ppt/theme/themeOverride51.xml" ContentType="application/vnd.openxmlformats-officedocument.themeOverride+xml"/>
  <Override PartName="/ppt/theme/themeOverride52.xml" ContentType="application/vnd.openxmlformats-officedocument.themeOverride+xml"/>
  <Override PartName="/ppt/theme/themeOverride53.xml" ContentType="application/vnd.openxmlformats-officedocument.themeOverride+xml"/>
  <Override PartName="/ppt/theme/themeOverride54.xml" ContentType="application/vnd.openxmlformats-officedocument.themeOverride+xml"/>
  <Override PartName="/ppt/theme/themeOverride55.xml" ContentType="application/vnd.openxmlformats-officedocument.themeOverride+xml"/>
  <Override PartName="/ppt/theme/themeOverride56.xml" ContentType="application/vnd.openxmlformats-officedocument.themeOverride+xml"/>
  <Override PartName="/ppt/theme/themeOverride57.xml" ContentType="application/vnd.openxmlformats-officedocument.themeOverride+xml"/>
  <Override PartName="/ppt/theme/themeOverride58.xml" ContentType="application/vnd.openxmlformats-officedocument.themeOverride+xml"/>
  <Override PartName="/ppt/theme/themeOverride59.xml" ContentType="application/vnd.openxmlformats-officedocument.themeOverride+xml"/>
  <Override PartName="/ppt/theme/themeOverride6.xml" ContentType="application/vnd.openxmlformats-officedocument.themeOverride+xml"/>
  <Override PartName="/ppt/theme/themeOverride60.xml" ContentType="application/vnd.openxmlformats-officedocument.themeOverride+xml"/>
  <Override PartName="/ppt/theme/themeOverride61.xml" ContentType="application/vnd.openxmlformats-officedocument.themeOverride+xml"/>
  <Override PartName="/ppt/theme/themeOverride62.xml" ContentType="application/vnd.openxmlformats-officedocument.themeOverride+xml"/>
  <Override PartName="/ppt/theme/themeOverride63.xml" ContentType="application/vnd.openxmlformats-officedocument.themeOverride+xml"/>
  <Override PartName="/ppt/theme/themeOverride64.xml" ContentType="application/vnd.openxmlformats-officedocument.themeOverride+xml"/>
  <Override PartName="/ppt/theme/themeOverride65.xml" ContentType="application/vnd.openxmlformats-officedocument.themeOverride+xml"/>
  <Override PartName="/ppt/theme/themeOverride66.xml" ContentType="application/vnd.openxmlformats-officedocument.themeOverride+xml"/>
  <Override PartName="/ppt/theme/themeOverride67.xml" ContentType="application/vnd.openxmlformats-officedocument.themeOverride+xml"/>
  <Override PartName="/ppt/theme/themeOverride68.xml" ContentType="application/vnd.openxmlformats-officedocument.themeOverride+xml"/>
  <Override PartName="/ppt/theme/themeOverride69.xml" ContentType="application/vnd.openxmlformats-officedocument.themeOverride+xml"/>
  <Override PartName="/ppt/theme/themeOverride7.xml" ContentType="application/vnd.openxmlformats-officedocument.themeOverride+xml"/>
  <Override PartName="/ppt/theme/themeOverride70.xml" ContentType="application/vnd.openxmlformats-officedocument.themeOverride+xml"/>
  <Override PartName="/ppt/theme/themeOverride71.xml" ContentType="application/vnd.openxmlformats-officedocument.themeOverride+xml"/>
  <Override PartName="/ppt/theme/themeOverride72.xml" ContentType="application/vnd.openxmlformats-officedocument.themeOverride+xml"/>
  <Override PartName="/ppt/theme/themeOverride73.xml" ContentType="application/vnd.openxmlformats-officedocument.themeOverride+xml"/>
  <Override PartName="/ppt/theme/themeOverride74.xml" ContentType="application/vnd.openxmlformats-officedocument.themeOverride+xml"/>
  <Override PartName="/ppt/theme/themeOverride75.xml" ContentType="application/vnd.openxmlformats-officedocument.themeOverride+xml"/>
  <Override PartName="/ppt/theme/themeOverride76.xml" ContentType="application/vnd.openxmlformats-officedocument.themeOverride+xml"/>
  <Override PartName="/ppt/theme/themeOverride77.xml" ContentType="application/vnd.openxmlformats-officedocument.themeOverride+xml"/>
  <Override PartName="/ppt/theme/themeOverride78.xml" ContentType="application/vnd.openxmlformats-officedocument.themeOverride+xml"/>
  <Override PartName="/ppt/theme/themeOverride79.xml" ContentType="application/vnd.openxmlformats-officedocument.themeOverride+xml"/>
  <Override PartName="/ppt/theme/themeOverride8.xml" ContentType="application/vnd.openxmlformats-officedocument.themeOverride+xml"/>
  <Override PartName="/ppt/theme/themeOverride80.xml" ContentType="application/vnd.openxmlformats-officedocument.themeOverride+xml"/>
  <Override PartName="/ppt/theme/themeOverride81.xml" ContentType="application/vnd.openxmlformats-officedocument.themeOverride+xml"/>
  <Override PartName="/ppt/theme/themeOverride82.xml" ContentType="application/vnd.openxmlformats-officedocument.themeOverride+xml"/>
  <Override PartName="/ppt/theme/themeOverride83.xml" ContentType="application/vnd.openxmlformats-officedocument.themeOverride+xml"/>
  <Override PartName="/ppt/theme/themeOverride84.xml" ContentType="application/vnd.openxmlformats-officedocument.themeOverride+xml"/>
  <Override PartName="/ppt/theme/themeOverride85.xml" ContentType="application/vnd.openxmlformats-officedocument.themeOverride+xml"/>
  <Override PartName="/ppt/theme/themeOverride86.xml" ContentType="application/vnd.openxmlformats-officedocument.themeOverride+xml"/>
  <Override PartName="/ppt/theme/themeOverride87.xml" ContentType="application/vnd.openxmlformats-officedocument.themeOverride+xml"/>
  <Override PartName="/ppt/theme/themeOverride88.xml" ContentType="application/vnd.openxmlformats-officedocument.themeOverride+xml"/>
  <Override PartName="/ppt/theme/themeOverride89.xml" ContentType="application/vnd.openxmlformats-officedocument.themeOverride+xml"/>
  <Override PartName="/ppt/theme/themeOverride9.xml" ContentType="application/vnd.openxmlformats-officedocument.themeOverride+xml"/>
  <Override PartName="/ppt/theme/themeOverride90.xml" ContentType="application/vnd.openxmlformats-officedocument.themeOverride+xml"/>
  <Override PartName="/ppt/theme/themeOverride91.xml" ContentType="application/vnd.openxmlformats-officedocument.themeOverride+xml"/>
  <Override PartName="/ppt/theme/themeOverride92.xml" ContentType="application/vnd.openxmlformats-officedocument.themeOverride+xml"/>
  <Override PartName="/ppt/theme/themeOverride93.xml" ContentType="application/vnd.openxmlformats-officedocument.themeOverride+xml"/>
  <Override PartName="/ppt/theme/themeOverride94.xml" ContentType="application/vnd.openxmlformats-officedocument.themeOverride+xml"/>
  <Override PartName="/ppt/theme/themeOverride95.xml" ContentType="application/vnd.openxmlformats-officedocument.themeOverride+xml"/>
  <Override PartName="/ppt/theme/themeOverride96.xml" ContentType="application/vnd.openxmlformats-officedocument.themeOverride+xml"/>
  <Override PartName="/ppt/theme/themeOverride97.xml" ContentType="application/vnd.openxmlformats-officedocument.themeOverride+xml"/>
  <Override PartName="/ppt/theme/themeOverride98.xml" ContentType="application/vnd.openxmlformats-officedocument.themeOverride+xml"/>
  <Override PartName="/ppt/theme/themeOverride99.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2" r:id="rId4"/>
  </p:sldMasterIdLst>
  <p:notesMasterIdLst>
    <p:notesMasterId r:id="rId85"/>
  </p:notesMasterIdLst>
  <p:sldIdLst>
    <p:sldId id="2147475170" r:id="rId5"/>
    <p:sldId id="2147475171" r:id="rId6"/>
    <p:sldId id="2147475172" r:id="rId7"/>
    <p:sldId id="2147475173" r:id="rId8"/>
    <p:sldId id="2147475174" r:id="rId9"/>
    <p:sldId id="2147475175" r:id="rId10"/>
    <p:sldId id="2147475176" r:id="rId11"/>
    <p:sldId id="2147475177" r:id="rId12"/>
    <p:sldId id="2147475178" r:id="rId13"/>
    <p:sldId id="2147475179" r:id="rId14"/>
    <p:sldId id="2147475180" r:id="rId15"/>
    <p:sldId id="2147475181" r:id="rId16"/>
    <p:sldId id="2147475182" r:id="rId17"/>
    <p:sldId id="2147475183" r:id="rId18"/>
    <p:sldId id="2147475184" r:id="rId19"/>
    <p:sldId id="2147475185" r:id="rId20"/>
    <p:sldId id="2147475186" r:id="rId21"/>
    <p:sldId id="2147475187" r:id="rId22"/>
    <p:sldId id="2147475188" r:id="rId23"/>
    <p:sldId id="2147475189" r:id="rId24"/>
    <p:sldId id="2147475190" r:id="rId25"/>
    <p:sldId id="2147475191" r:id="rId26"/>
    <p:sldId id="2147475192" r:id="rId27"/>
    <p:sldId id="2147475193" r:id="rId28"/>
    <p:sldId id="2147475194" r:id="rId29"/>
    <p:sldId id="2147475195" r:id="rId30"/>
    <p:sldId id="2147475196" r:id="rId31"/>
    <p:sldId id="2147475197" r:id="rId32"/>
    <p:sldId id="2147475198" r:id="rId33"/>
    <p:sldId id="2147475199" r:id="rId34"/>
    <p:sldId id="2147475200" r:id="rId35"/>
    <p:sldId id="2147475201" r:id="rId36"/>
    <p:sldId id="2147475202" r:id="rId37"/>
    <p:sldId id="2147475203" r:id="rId38"/>
    <p:sldId id="2147475204" r:id="rId39"/>
    <p:sldId id="2147475205" r:id="rId40"/>
    <p:sldId id="2147475206" r:id="rId41"/>
    <p:sldId id="2147475207" r:id="rId42"/>
    <p:sldId id="2147475208" r:id="rId43"/>
    <p:sldId id="2147475209" r:id="rId44"/>
    <p:sldId id="2147475210" r:id="rId45"/>
    <p:sldId id="2147475211" r:id="rId46"/>
    <p:sldId id="2147475212" r:id="rId47"/>
    <p:sldId id="2147475213" r:id="rId48"/>
    <p:sldId id="2147475214" r:id="rId49"/>
    <p:sldId id="2147475215" r:id="rId50"/>
    <p:sldId id="2147475216" r:id="rId51"/>
    <p:sldId id="2147475217" r:id="rId52"/>
    <p:sldId id="2147475218" r:id="rId53"/>
    <p:sldId id="2147475219" r:id="rId54"/>
    <p:sldId id="2147475220" r:id="rId55"/>
    <p:sldId id="2147475221" r:id="rId56"/>
    <p:sldId id="2147475222" r:id="rId57"/>
    <p:sldId id="2147475223" r:id="rId58"/>
    <p:sldId id="2147475224" r:id="rId59"/>
    <p:sldId id="2147475225" r:id="rId60"/>
    <p:sldId id="2147475226" r:id="rId61"/>
    <p:sldId id="2147475227" r:id="rId62"/>
    <p:sldId id="2147475228" r:id="rId63"/>
    <p:sldId id="2147475229" r:id="rId64"/>
    <p:sldId id="2147475230" r:id="rId65"/>
    <p:sldId id="2147475231" r:id="rId66"/>
    <p:sldId id="2147475232" r:id="rId67"/>
    <p:sldId id="2147475233" r:id="rId68"/>
    <p:sldId id="2147475234" r:id="rId69"/>
    <p:sldId id="2147475235" r:id="rId70"/>
    <p:sldId id="2147475236" r:id="rId71"/>
    <p:sldId id="2147475237" r:id="rId72"/>
    <p:sldId id="2147475238" r:id="rId73"/>
    <p:sldId id="2147475239" r:id="rId74"/>
    <p:sldId id="2147475240" r:id="rId75"/>
    <p:sldId id="2147475241" r:id="rId76"/>
    <p:sldId id="2147475242" r:id="rId77"/>
    <p:sldId id="2147475243" r:id="rId78"/>
    <p:sldId id="2147475244" r:id="rId79"/>
    <p:sldId id="2147475245" r:id="rId80"/>
    <p:sldId id="2147475246" r:id="rId81"/>
    <p:sldId id="2147475247" r:id="rId82"/>
    <p:sldId id="2147475248" r:id="rId83"/>
    <p:sldId id="2147475249" r:id="rId84"/>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Share and Growth By Manufacturer/Brands" id="{7D350025-092E-4003-87D5-7A566E943CF6}">
          <p14:sldIdLst>
            <p14:sldId id="2147475170"/>
            <p14:sldId id="2147475171"/>
            <p14:sldId id="2147475172"/>
            <p14:sldId id="2147475173"/>
            <p14:sldId id="2147475174"/>
            <p14:sldId id="2147475175"/>
            <p14:sldId id="2147475176"/>
            <p14:sldId id="2147475177"/>
            <p14:sldId id="2147475178"/>
            <p14:sldId id="2147475179"/>
            <p14:sldId id="2147475180"/>
            <p14:sldId id="2147475181"/>
          </p14:sldIdLst>
        </p14:section>
        <p14:section name="Share And Growth By Manufacturer By Retailer" id="{A35195E3-CF31-4758-A033-F4AB240EE5AF}">
          <p14:sldIdLst>
            <p14:sldId id="2147475182"/>
            <p14:sldId id="2147475183"/>
            <p14:sldId id="2147475184"/>
            <p14:sldId id="2147475185"/>
            <p14:sldId id="2147475186"/>
            <p14:sldId id="2147475187"/>
          </p14:sldIdLst>
        </p14:section>
        <p14:section name="Share And Growth By Brands By Retailer" id="{54AB0140-91B2-4859-AD96-8A89D81AA203}">
          <p14:sldIdLst>
            <p14:sldId id="2147475188"/>
            <p14:sldId id="2147475189"/>
            <p14:sldId id="2147475190"/>
            <p14:sldId id="2147475191"/>
            <p14:sldId id="2147475192"/>
            <p14:sldId id="2147475193"/>
          </p14:sldIdLst>
        </p14:section>
        <p14:section name="Share And Growth By Manufacturer By Sector" id="{972942E3-9735-4433-B748-D301C1D7E445}">
          <p14:sldIdLst>
            <p14:sldId id="2147475194"/>
            <p14:sldId id="2147475195"/>
          </p14:sldIdLst>
        </p14:section>
        <p14:section name="Share And Growth By Brands By Sector" id="{B9037F10-B6C1-42BF-9B70-4DCDD87E7C74}">
          <p14:sldIdLst>
            <p14:sldId id="2147475196"/>
            <p14:sldId id="2147475197"/>
          </p14:sldIdLst>
        </p14:section>
        <p14:section name="Share And Growth By Manufacturer By Segment" id="{F0C5A0AE-4D09-4AAA-9639-B31AA987A84B}">
          <p14:sldIdLst>
            <p14:sldId id="2147475198"/>
            <p14:sldId id="2147475199"/>
          </p14:sldIdLst>
        </p14:section>
        <p14:section name="Share And Growth By Brands By Segment" id="{00E75D5B-A0F9-472E-9D22-34D5B4372317}">
          <p14:sldIdLst>
            <p14:sldId id="2147475200"/>
            <p14:sldId id="2147475201"/>
          </p14:sldIdLst>
        </p14:section>
        <p14:section name="Sales and Growth By Sector" id="{1534478D-D736-4BFB-88BD-D2909438C6A9}">
          <p14:sldIdLst>
            <p14:sldId id="2147475202"/>
            <p14:sldId id="2147475203"/>
            <p14:sldId id="2147475204"/>
            <p14:sldId id="2147475205"/>
            <p14:sldId id="2147475206"/>
            <p14:sldId id="2147475207"/>
            <p14:sldId id="2147475208"/>
            <p14:sldId id="2147475209"/>
          </p14:sldIdLst>
        </p14:section>
        <p14:section name="Sales and Growth By Segment" id="{789AD9CB-1142-4ACE-8D45-5E4C215F75DA}">
          <p14:sldIdLst>
            <p14:sldId id="2147475210"/>
            <p14:sldId id="2147475211"/>
            <p14:sldId id="2147475212"/>
            <p14:sldId id="2147475213"/>
            <p14:sldId id="2147475214"/>
            <p14:sldId id="2147475215"/>
            <p14:sldId id="2147475216"/>
            <p14:sldId id="2147475217"/>
          </p14:sldIdLst>
        </p14:section>
        <p14:section name="Share and Growth By Category for Region For Retailer" id="{55EF8E76-A685-4DDE-BD95-293D4DF8914F}">
          <p14:sldIdLst>
            <p14:sldId id="2147475218"/>
            <p14:sldId id="2147475219"/>
            <p14:sldId id="2147475220"/>
            <p14:sldId id="2147475221"/>
          </p14:sldIdLst>
        </p14:section>
        <p14:section name="Share and Growth By Sector for Region For Retailer" id="{D879D22A-2545-4A3A-8DFA-2AC3D49680E7}">
          <p14:sldIdLst>
            <p14:sldId id="2147475222"/>
            <p14:sldId id="2147475223"/>
            <p14:sldId id="2147475224"/>
            <p14:sldId id="2147475225"/>
            <p14:sldId id="2147475226"/>
            <p14:sldId id="2147475227"/>
          </p14:sldIdLst>
        </p14:section>
        <p14:section name="Share and Growth By Segment for Region For Retailer" id="{6AD59BDC-9EDE-45EF-B39C-5590961B1FB6}">
          <p14:sldIdLst>
            <p14:sldId id="2147475228"/>
            <p14:sldId id="2147475229"/>
            <p14:sldId id="2147475230"/>
            <p14:sldId id="2147475231"/>
            <p14:sldId id="2147475232"/>
            <p14:sldId id="2147475233"/>
            <p14:sldId id="2147475234"/>
            <p14:sldId id="2147475235"/>
            <p14:sldId id="2147475236"/>
          </p14:sldIdLst>
        </p14:section>
        <p14:section name="Momentum Analysis By Retailers" id="{72B92EA5-9FC7-41FE-B611-0393F2C31B4D}">
          <p14:sldIdLst>
            <p14:sldId id="2147475237"/>
            <p14:sldId id="2147475238"/>
            <p14:sldId id="2147475239"/>
            <p14:sldId id="2147475240"/>
            <p14:sldId id="2147475241"/>
            <p14:sldId id="2147475242"/>
          </p14:sldIdLst>
        </p14:section>
        <p14:section name="Momentum Analysis By Retailers By Segments" id="{C187085D-6AA5-4606-9E5F-F10D52FD6B0F}">
          <p14:sldIdLst>
            <p14:sldId id="2147475243"/>
          </p14:sldIdLst>
        </p14:section>
        <p14:section name="Momentum Analysis By Sectors" id="{49BAD061-F9E4-4DC7-93B0-F2283E1CC800}">
          <p14:sldIdLst>
            <p14:sldId id="2147475244"/>
            <p14:sldId id="2147475245"/>
            <p14:sldId id="2147475246"/>
          </p14:sldIdLst>
        </p14:section>
        <p14:section name="Momentum Analysis By Segments" id="{AA5EB2A5-2DD6-4B73-83DA-004E522C2BCF}">
          <p14:sldIdLst>
            <p14:sldId id="2147475247"/>
            <p14:sldId id="2147475248"/>
            <p14:sldId id="2147475249"/>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guide id="3" orient="horz" pos="940" userDrawn="1">
          <p15:clr>
            <a:srgbClr val="5ACBF0"/>
          </p15:clr>
        </p15:guide>
        <p15:guide id="4" orient="horz" pos="1212" userDrawn="1">
          <p15:clr>
            <a:srgbClr val="F26B43"/>
          </p15:clr>
        </p15:guide>
        <p15:guide id="5" orient="horz" pos="1121" userDrawn="1">
          <p15:clr>
            <a:srgbClr val="5ACBF0"/>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219F46E-3B23-D09F-47AD-C779851D2CA1}" name="Sophie  ZIMMERMANN" initials="SZ" userId="S::zimmermann.s@pricing.one::a3ccab47-c860-43ce-9c7d-ef7907b0df29" providerId="AD"/>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75555"/>
    <a:srgbClr val="AEABAB"/>
    <a:srgbClr val="9B9898"/>
    <a:srgbClr val="FFB5B5"/>
    <a:srgbClr val="00A097"/>
    <a:srgbClr val="FF8080"/>
    <a:srgbClr val="B2DFDC"/>
    <a:srgbClr val="BCBBBB"/>
    <a:srgbClr val="E6E5E5"/>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99" autoAdjust="0"/>
    <p:restoredTop sz="94660"/>
  </p:normalViewPr>
  <p:slideViewPr>
    <p:cSldViewPr snapToGrid="0">
      <p:cViewPr varScale="1">
        <p:scale>
          <a:sx n="85" d="100"/>
          <a:sy n="85" d="100"/>
        </p:scale>
        <p:origin x="204" y="84"/>
      </p:cViewPr>
      <p:guideLst>
        <p:guide orient="horz" pos="1620"/>
        <p:guide pos="2880"/>
        <p:guide orient="horz" pos="940"/>
        <p:guide orient="horz" pos="1212"/>
        <p:guide orient="horz" pos="112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slide" Target="slides/slide49.xml"/><Relationship Id="rId54" Type="http://schemas.openxmlformats.org/officeDocument/2006/relationships/slide" Target="slides/slide50.xml"/><Relationship Id="rId55" Type="http://schemas.openxmlformats.org/officeDocument/2006/relationships/slide" Target="slides/slide51.xml"/><Relationship Id="rId56" Type="http://schemas.openxmlformats.org/officeDocument/2006/relationships/slide" Target="slides/slide52.xml"/><Relationship Id="rId57" Type="http://schemas.openxmlformats.org/officeDocument/2006/relationships/slide" Target="slides/slide53.xml"/><Relationship Id="rId58" Type="http://schemas.openxmlformats.org/officeDocument/2006/relationships/slide" Target="slides/slide54.xml"/><Relationship Id="rId59" Type="http://schemas.openxmlformats.org/officeDocument/2006/relationships/slide" Target="slides/slide55.xml"/><Relationship Id="rId60" Type="http://schemas.openxmlformats.org/officeDocument/2006/relationships/slide" Target="slides/slide56.xml"/><Relationship Id="rId61" Type="http://schemas.openxmlformats.org/officeDocument/2006/relationships/slide" Target="slides/slide57.xml"/><Relationship Id="rId62" Type="http://schemas.openxmlformats.org/officeDocument/2006/relationships/slide" Target="slides/slide58.xml"/><Relationship Id="rId63" Type="http://schemas.openxmlformats.org/officeDocument/2006/relationships/slide" Target="slides/slide59.xml"/><Relationship Id="rId64" Type="http://schemas.openxmlformats.org/officeDocument/2006/relationships/slide" Target="slides/slide60.xml"/><Relationship Id="rId65" Type="http://schemas.openxmlformats.org/officeDocument/2006/relationships/slide" Target="slides/slide61.xml"/><Relationship Id="rId66" Type="http://schemas.openxmlformats.org/officeDocument/2006/relationships/slide" Target="slides/slide62.xml"/><Relationship Id="rId67" Type="http://schemas.openxmlformats.org/officeDocument/2006/relationships/slide" Target="slides/slide63.xml"/><Relationship Id="rId68" Type="http://schemas.openxmlformats.org/officeDocument/2006/relationships/slide" Target="slides/slide64.xml"/><Relationship Id="rId69" Type="http://schemas.openxmlformats.org/officeDocument/2006/relationships/slide" Target="slides/slide65.xml"/><Relationship Id="rId70" Type="http://schemas.openxmlformats.org/officeDocument/2006/relationships/slide" Target="slides/slide66.xml"/><Relationship Id="rId71" Type="http://schemas.openxmlformats.org/officeDocument/2006/relationships/slide" Target="slides/slide67.xml"/><Relationship Id="rId72" Type="http://schemas.openxmlformats.org/officeDocument/2006/relationships/slide" Target="slides/slide68.xml"/><Relationship Id="rId73" Type="http://schemas.openxmlformats.org/officeDocument/2006/relationships/slide" Target="slides/slide69.xml"/><Relationship Id="rId74" Type="http://schemas.openxmlformats.org/officeDocument/2006/relationships/slide" Target="slides/slide70.xml"/><Relationship Id="rId75" Type="http://schemas.openxmlformats.org/officeDocument/2006/relationships/slide" Target="slides/slide71.xml"/><Relationship Id="rId76" Type="http://schemas.openxmlformats.org/officeDocument/2006/relationships/slide" Target="slides/slide72.xml"/><Relationship Id="rId77" Type="http://schemas.openxmlformats.org/officeDocument/2006/relationships/slide" Target="slides/slide73.xml"/><Relationship Id="rId78" Type="http://schemas.openxmlformats.org/officeDocument/2006/relationships/slide" Target="slides/slide74.xml"/><Relationship Id="rId79" Type="http://schemas.openxmlformats.org/officeDocument/2006/relationships/slide" Target="slides/slide75.xml"/><Relationship Id="rId80" Type="http://schemas.openxmlformats.org/officeDocument/2006/relationships/slide" Target="slides/slide76.xml"/><Relationship Id="rId81" Type="http://schemas.openxmlformats.org/officeDocument/2006/relationships/slide" Target="slides/slide77.xml"/><Relationship Id="rId82" Type="http://schemas.openxmlformats.org/officeDocument/2006/relationships/slide" Target="slides/slide78.xml"/><Relationship Id="rId83" Type="http://schemas.openxmlformats.org/officeDocument/2006/relationships/slide" Target="slides/slide79.xml"/><Relationship Id="rId84" Type="http://schemas.openxmlformats.org/officeDocument/2006/relationships/slide" Target="slides/slide80.xml"/><Relationship Id="rId85" Type="http://schemas.openxmlformats.org/officeDocument/2006/relationships/notesMaster" Target="notesMasters/notesMaster1.xml"/><Relationship Id="rId86" Type="http://schemas.openxmlformats.org/officeDocument/2006/relationships/presProps" Target="presProps.xml"/><Relationship Id="rId87" Type="http://schemas.openxmlformats.org/officeDocument/2006/relationships/viewProps" Target="viewProps.xml"/><Relationship Id="rId88" Type="http://schemas.openxmlformats.org/officeDocument/2006/relationships/theme" Target="theme/theme1.xml"/><Relationship Id="rId89" Type="http://schemas.openxmlformats.org/officeDocument/2006/relationships/tableStyles" Target="tableStyles.xml"/><Relationship Id="rId90"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themeOverride" Target="../theme/themeOverride1.xml"/><Relationship Id="rId2"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themeOverride" Target="../theme/themeOverride10.xml"/><Relationship Id="rId2"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themeOverride" Target="../theme/themeOverride100.xml"/><Relationship Id="rId2"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themeOverride" Target="../theme/themeOverride101.xml"/><Relationship Id="rId2"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themeOverride" Target="../theme/themeOverride102.xml"/><Relationship Id="rId2"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themeOverride" Target="../theme/themeOverride103.xml"/><Relationship Id="rId2"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themeOverride" Target="../theme/themeOverride104.xml"/><Relationship Id="rId2"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themeOverride" Target="../theme/themeOverride105.xml"/><Relationship Id="rId2"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themeOverride" Target="../theme/themeOverride106.xml"/><Relationship Id="rId2"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themeOverride" Target="../theme/themeOverride107.xml"/><Relationship Id="rId2"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themeOverride" Target="../theme/themeOverride108.xml"/><Relationship Id="rId2"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themeOverride" Target="../theme/themeOverride109.xml"/><Relationship Id="rId2"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themeOverride" Target="../theme/themeOverride11.xml"/><Relationship Id="rId2"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themeOverride" Target="../theme/themeOverride110.xml"/><Relationship Id="rId2"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themeOverride" Target="../theme/themeOverride111.xml"/><Relationship Id="rId2"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themeOverride" Target="../theme/themeOverride112.xml"/><Relationship Id="rId2"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themeOverride" Target="../theme/themeOverride113.xml"/><Relationship Id="rId2"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themeOverride" Target="../theme/themeOverride114.xml"/><Relationship Id="rId2"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themeOverride" Target="../theme/themeOverride115.xml"/><Relationship Id="rId2"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themeOverride" Target="../theme/themeOverride116.xml"/><Relationship Id="rId2"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themeOverride" Target="../theme/themeOverride117.xml"/><Relationship Id="rId2"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themeOverride" Target="../theme/themeOverride118.xml"/><Relationship Id="rId2"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themeOverride" Target="../theme/themeOverride119.xml"/><Relationship Id="rId2"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themeOverride" Target="../theme/themeOverride12.xml"/><Relationship Id="rId2"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themeOverride" Target="../theme/themeOverride120.xml"/><Relationship Id="rId2"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themeOverride" Target="../theme/themeOverride121.xml"/><Relationship Id="rId2"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themeOverride" Target="../theme/themeOverride122.xml"/><Relationship Id="rId2"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themeOverride" Target="../theme/themeOverride123.xml"/><Relationship Id="rId2"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themeOverride" Target="../theme/themeOverride124.xml"/><Relationship Id="rId2"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themeOverride" Target="../theme/themeOverride125.xml"/><Relationship Id="rId2"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themeOverride" Target="../theme/themeOverride126.xml"/><Relationship Id="rId2"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themeOverride" Target="../theme/themeOverride127.xml"/><Relationship Id="rId2"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themeOverride" Target="../theme/themeOverride128.xml"/><Relationship Id="rId2"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themeOverride" Target="../theme/themeOverride129.xml"/><Relationship Id="rId2"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themeOverride" Target="../theme/themeOverride13.xml"/><Relationship Id="rId2"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themeOverride" Target="../theme/themeOverride130.xml"/><Relationship Id="rId2"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themeOverride" Target="../theme/themeOverride131.xml"/><Relationship Id="rId2"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themeOverride" Target="../theme/themeOverride132.xml"/><Relationship Id="rId2"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themeOverride" Target="../theme/themeOverride133.xml"/><Relationship Id="rId2"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themeOverride" Target="../theme/themeOverride134.xml"/><Relationship Id="rId2"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themeOverride" Target="../theme/themeOverride135.xml"/><Relationship Id="rId2"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themeOverride" Target="../theme/themeOverride136.xml"/><Relationship Id="rId2"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themeOverride" Target="../theme/themeOverride137.xml"/><Relationship Id="rId2"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themeOverride" Target="../theme/themeOverride138.xml"/><Relationship Id="rId2"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themeOverride" Target="../theme/themeOverride139.xml"/><Relationship Id="rId2"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themeOverride" Target="../theme/themeOverride14.xml"/><Relationship Id="rId2"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themeOverride" Target="../theme/themeOverride140.xml"/><Relationship Id="rId2"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microsoft.com/office/2011/relationships/chartStyle" Target="style2.xml"/><Relationship Id="rId2" Type="http://schemas.microsoft.com/office/2011/relationships/chartColorStyle" Target="colors2.xml"/><Relationship Id="rId3"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themeOverride" Target="../theme/themeOverride141.xml"/><Relationship Id="rId2"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themeOverride" Target="../theme/themeOverride142.xml"/><Relationship Id="rId2"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themeOverride" Target="../theme/themeOverride143.xml"/><Relationship Id="rId2"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themeOverride" Target="../theme/themeOverride144.xml"/><Relationship Id="rId2"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microsoft.com/office/2011/relationships/chartStyle" Target="style3.xml"/><Relationship Id="rId2" Type="http://schemas.microsoft.com/office/2011/relationships/chartColorStyle" Target="colors3.xml"/><Relationship Id="rId3"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microsoft.com/office/2011/relationships/chartStyle" Target="style4.xml"/><Relationship Id="rId2" Type="http://schemas.microsoft.com/office/2011/relationships/chartColorStyle" Target="colors4.xml"/><Relationship Id="rId3"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themeOverride" Target="../theme/themeOverride145.xml"/><Relationship Id="rId2"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themeOverride" Target="../theme/themeOverride15.xml"/><Relationship Id="rId2"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themeOverride" Target="../theme/themeOverride146.xml"/><Relationship Id="rId2"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themeOverride" Target="../theme/themeOverride147.xml"/><Relationship Id="rId2"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themeOverride" Target="../theme/themeOverride148.xml"/><Relationship Id="rId2"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microsoft.com/office/2011/relationships/chartStyle" Target="style5.xml"/><Relationship Id="rId2" Type="http://schemas.microsoft.com/office/2011/relationships/chartColorStyle" Target="colors5.xml"/><Relationship Id="rId3"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microsoft.com/office/2011/relationships/chartStyle" Target="style6.xml"/><Relationship Id="rId2" Type="http://schemas.microsoft.com/office/2011/relationships/chartColorStyle" Target="colors6.xml"/><Relationship Id="rId3"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themeOverride" Target="../theme/themeOverride149.xml"/><Relationship Id="rId2"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themeOverride" Target="../theme/themeOverride150.xml"/><Relationship Id="rId2"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themeOverride" Target="../theme/themeOverride151.xml"/><Relationship Id="rId2"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themeOverride" Target="../theme/themeOverride152.xml"/><Relationship Id="rId2"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microsoft.com/office/2011/relationships/chartStyle" Target="style7.xml"/><Relationship Id="rId2" Type="http://schemas.microsoft.com/office/2011/relationships/chartColorStyle" Target="colors7.xml"/><Relationship Id="rId3"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themeOverride" Target="../theme/themeOverride16.xml"/><Relationship Id="rId2"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microsoft.com/office/2011/relationships/chartStyle" Target="style8.xml"/><Relationship Id="rId2" Type="http://schemas.microsoft.com/office/2011/relationships/chartColorStyle" Target="colors8.xml"/><Relationship Id="rId3"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themeOverride" Target="../theme/themeOverride153.xml"/><Relationship Id="rId2"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themeOverride" Target="../theme/themeOverride154.xml"/><Relationship Id="rId2"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themeOverride" Target="../theme/themeOverride155.xml"/><Relationship Id="rId2"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themeOverride" Target="../theme/themeOverride156.xml"/><Relationship Id="rId2"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microsoft.com/office/2011/relationships/chartStyle" Target="style9.xml"/><Relationship Id="rId2" Type="http://schemas.microsoft.com/office/2011/relationships/chartColorStyle" Target="colors9.xml"/><Relationship Id="rId3"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microsoft.com/office/2011/relationships/chartStyle" Target="style10.xml"/><Relationship Id="rId2" Type="http://schemas.microsoft.com/office/2011/relationships/chartColorStyle" Target="colors10.xml"/><Relationship Id="rId3"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themeOverride" Target="../theme/themeOverride157.xml"/><Relationship Id="rId2"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themeOverride" Target="../theme/themeOverride158.xml"/><Relationship Id="rId2"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themeOverride" Target="../theme/themeOverride159.xml"/><Relationship Id="rId2"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themeOverride" Target="../theme/themeOverride17.xml"/><Relationship Id="rId2"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themeOverride" Target="../theme/themeOverride160.xml"/><Relationship Id="rId2"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microsoft.com/office/2011/relationships/chartStyle" Target="style11.xml"/><Relationship Id="rId2" Type="http://schemas.microsoft.com/office/2011/relationships/chartColorStyle" Target="colors11.xml"/><Relationship Id="rId3"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microsoft.com/office/2011/relationships/chartStyle" Target="style12.xml"/><Relationship Id="rId2" Type="http://schemas.microsoft.com/office/2011/relationships/chartColorStyle" Target="colors12.xml"/><Relationship Id="rId3"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themeOverride" Target="../theme/themeOverride161.xml"/><Relationship Id="rId2"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themeOverride" Target="../theme/themeOverride162.xml"/><Relationship Id="rId2"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themeOverride" Target="../theme/themeOverride163.xml"/><Relationship Id="rId2"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themeOverride" Target="../theme/themeOverride164.xml"/><Relationship Id="rId2"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microsoft.com/office/2011/relationships/chartStyle" Target="style13.xml"/><Relationship Id="rId2" Type="http://schemas.microsoft.com/office/2011/relationships/chartColorStyle" Target="colors13.xml"/><Relationship Id="rId3"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microsoft.com/office/2011/relationships/chartStyle" Target="style14.xml"/><Relationship Id="rId2" Type="http://schemas.microsoft.com/office/2011/relationships/chartColorStyle" Target="colors14.xml"/><Relationship Id="rId3"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themeOverride" Target="../theme/themeOverride165.xml"/><Relationship Id="rId2"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themeOverride" Target="../theme/themeOverride18.xml"/><Relationship Id="rId2"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themeOverride" Target="../theme/themeOverride166.xml"/><Relationship Id="rId2"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themeOverride" Target="../theme/themeOverride167.xml"/><Relationship Id="rId2"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themeOverride" Target="../theme/themeOverride168.xml"/><Relationship Id="rId2"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microsoft.com/office/2011/relationships/chartStyle" Target="style15.xml"/><Relationship Id="rId2" Type="http://schemas.microsoft.com/office/2011/relationships/chartColorStyle" Target="colors15.xml"/><Relationship Id="rId3"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microsoft.com/office/2011/relationships/chartStyle" Target="style16.xml"/><Relationship Id="rId2" Type="http://schemas.microsoft.com/office/2011/relationships/chartColorStyle" Target="colors16.xml"/><Relationship Id="rId3"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themeOverride" Target="../theme/themeOverride169.xml"/><Relationship Id="rId2"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themeOverride" Target="../theme/themeOverride170.xml"/><Relationship Id="rId2"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themeOverride" Target="../theme/themeOverride171.xml"/><Relationship Id="rId2"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themeOverride" Target="../theme/themeOverride172.xml"/><Relationship Id="rId2"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microsoft.com/office/2011/relationships/chartStyle" Target="style17.xml"/><Relationship Id="rId2" Type="http://schemas.microsoft.com/office/2011/relationships/chartColorStyle" Target="colors17.xml"/><Relationship Id="rId3"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themeOverride" Target="../theme/themeOverride19.xml"/><Relationship Id="rId2"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microsoft.com/office/2011/relationships/chartStyle" Target="style18.xml"/><Relationship Id="rId2" Type="http://schemas.microsoft.com/office/2011/relationships/chartColorStyle" Target="colors18.xml"/><Relationship Id="rId3"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themeOverride" Target="../theme/themeOverride173.xml"/><Relationship Id="rId2"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themeOverride" Target="../theme/themeOverride174.xml"/><Relationship Id="rId2"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themeOverride" Target="../theme/themeOverride175.xml"/><Relationship Id="rId2"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themeOverride" Target="../theme/themeOverride176.xml"/><Relationship Id="rId2"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microsoft.com/office/2011/relationships/chartStyle" Target="style19.xml"/><Relationship Id="rId2" Type="http://schemas.microsoft.com/office/2011/relationships/chartColorStyle" Target="colors19.xml"/><Relationship Id="rId3"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microsoft.com/office/2011/relationships/chartStyle" Target="style20.xml"/><Relationship Id="rId2" Type="http://schemas.microsoft.com/office/2011/relationships/chartColorStyle" Target="colors20.xml"/><Relationship Id="rId3"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themeOverride" Target="../theme/themeOverride177.xml"/><Relationship Id="rId2"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themeOverride" Target="../theme/themeOverride178.xml"/><Relationship Id="rId2"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themeOverride" Target="../theme/themeOverride179.xml"/><Relationship Id="rId2"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themeOverride" Target="../theme/themeOverride2.xml"/><Relationship Id="rId2"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themeOverride" Target="../theme/themeOverride20.xml"/><Relationship Id="rId2"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themeOverride" Target="../theme/themeOverride180.xml"/><Relationship Id="rId2"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microsoft.com/office/2011/relationships/chartStyle" Target="style21.xml"/><Relationship Id="rId2" Type="http://schemas.microsoft.com/office/2011/relationships/chartColorStyle" Target="colors21.xml"/><Relationship Id="rId3"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microsoft.com/office/2011/relationships/chartStyle" Target="style22.xml"/><Relationship Id="rId2" Type="http://schemas.microsoft.com/office/2011/relationships/chartColorStyle" Target="colors22.xml"/><Relationship Id="rId3"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themeOverride" Target="../theme/themeOverride181.xml"/><Relationship Id="rId2"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themeOverride" Target="../theme/themeOverride182.xml"/><Relationship Id="rId2"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themeOverride" Target="../theme/themeOverride183.xml"/><Relationship Id="rId2"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themeOverride" Target="../theme/themeOverride184.xml"/><Relationship Id="rId2"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microsoft.com/office/2011/relationships/chartStyle" Target="style23.xml"/><Relationship Id="rId2" Type="http://schemas.microsoft.com/office/2011/relationships/chartColorStyle" Target="colors23.xml"/><Relationship Id="rId3"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microsoft.com/office/2011/relationships/chartStyle" Target="style24.xml"/><Relationship Id="rId2" Type="http://schemas.microsoft.com/office/2011/relationships/chartColorStyle" Target="colors24.xml"/><Relationship Id="rId3"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themeOverride" Target="../theme/themeOverride185.xml"/><Relationship Id="rId2"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themeOverride" Target="../theme/themeOverride21.xml"/><Relationship Id="rId2"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themeOverride" Target="../theme/themeOverride186.xml"/><Relationship Id="rId2"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themeOverride" Target="../theme/themeOverride187.xml"/><Relationship Id="rId2"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themeOverride" Target="../theme/themeOverride188.xml"/><Relationship Id="rId2"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microsoft.com/office/2011/relationships/chartStyle" Target="style25.xml"/><Relationship Id="rId2" Type="http://schemas.microsoft.com/office/2011/relationships/chartColorStyle" Target="colors25.xml"/><Relationship Id="rId3"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microsoft.com/office/2011/relationships/chartStyle" Target="style26.xml"/><Relationship Id="rId2" Type="http://schemas.microsoft.com/office/2011/relationships/chartColorStyle" Target="colors26.xml"/><Relationship Id="rId3"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themeOverride" Target="../theme/themeOverride189.xml"/><Relationship Id="rId2"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themeOverride" Target="../theme/themeOverride190.xml"/><Relationship Id="rId2"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themeOverride" Target="../theme/themeOverride191.xml"/><Relationship Id="rId2"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themeOverride" Target="../theme/themeOverride192.xml"/><Relationship Id="rId2"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microsoft.com/office/2011/relationships/chartStyle" Target="style27.xml"/><Relationship Id="rId2" Type="http://schemas.microsoft.com/office/2011/relationships/chartColorStyle" Target="colors27.xml"/><Relationship Id="rId3"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themeOverride" Target="../theme/themeOverride22.xml"/><Relationship Id="rId2"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microsoft.com/office/2011/relationships/chartStyle" Target="style28.xml"/><Relationship Id="rId2" Type="http://schemas.microsoft.com/office/2011/relationships/chartColorStyle" Target="colors28.xml"/><Relationship Id="rId3"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themeOverride" Target="../theme/themeOverride193.xml"/><Relationship Id="rId2"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themeOverride" Target="../theme/themeOverride194.xml"/><Relationship Id="rId2"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themeOverride" Target="../theme/themeOverride195.xml"/><Relationship Id="rId2"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themeOverride" Target="../theme/themeOverride196.xml"/><Relationship Id="rId2"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microsoft.com/office/2011/relationships/chartStyle" Target="style29.xml"/><Relationship Id="rId2" Type="http://schemas.microsoft.com/office/2011/relationships/chartColorStyle" Target="colors29.xml"/><Relationship Id="rId3"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microsoft.com/office/2011/relationships/chartStyle" Target="style30.xml"/><Relationship Id="rId2" Type="http://schemas.microsoft.com/office/2011/relationships/chartColorStyle" Target="colors30.xml"/><Relationship Id="rId3"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themeOverride" Target="../theme/themeOverride197.xml"/><Relationship Id="rId2"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themeOverride" Target="../theme/themeOverride198.xml"/><Relationship Id="rId2"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themeOverride" Target="../theme/themeOverride199.xml"/><Relationship Id="rId2"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themeOverride" Target="../theme/themeOverride23.xml"/><Relationship Id="rId2"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themeOverride" Target="../theme/themeOverride200.xml"/><Relationship Id="rId2"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microsoft.com/office/2011/relationships/chartStyle" Target="style31.xml"/><Relationship Id="rId2" Type="http://schemas.microsoft.com/office/2011/relationships/chartColorStyle" Target="colors31.xml"/><Relationship Id="rId3"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microsoft.com/office/2011/relationships/chartStyle" Target="style32.xml"/><Relationship Id="rId2" Type="http://schemas.microsoft.com/office/2011/relationships/chartColorStyle" Target="colors32.xml"/><Relationship Id="rId3"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themeOverride" Target="../theme/themeOverride201.xml"/><Relationship Id="rId2"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themeOverride" Target="../theme/themeOverride202.xml"/><Relationship Id="rId2"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themeOverride" Target="../theme/themeOverride203.xml"/><Relationship Id="rId2"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themeOverride" Target="../theme/themeOverride204.xml"/><Relationship Id="rId2"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microsoft.com/office/2011/relationships/chartStyle" Target="style33.xml"/><Relationship Id="rId2" Type="http://schemas.microsoft.com/office/2011/relationships/chartColorStyle" Target="colors33.xml"/><Relationship Id="rId3"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microsoft.com/office/2011/relationships/chartStyle" Target="style34.xml"/><Relationship Id="rId2" Type="http://schemas.microsoft.com/office/2011/relationships/chartColorStyle" Target="colors34.xml"/><Relationship Id="rId3"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themeOverride" Target="../theme/themeOverride205.xml"/><Relationship Id="rId2"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themeOverride" Target="../theme/themeOverride24.xml"/><Relationship Id="rId2"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themeOverride" Target="../theme/themeOverride206.xml"/><Relationship Id="rId2"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themeOverride" Target="../theme/themeOverride207.xml"/><Relationship Id="rId2"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themeOverride" Target="../theme/themeOverride208.xml"/><Relationship Id="rId2"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microsoft.com/office/2011/relationships/chartStyle" Target="style35.xml"/><Relationship Id="rId2" Type="http://schemas.microsoft.com/office/2011/relationships/chartColorStyle" Target="colors35.xml"/><Relationship Id="rId3"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microsoft.com/office/2011/relationships/chartStyle" Target="style36.xml"/><Relationship Id="rId2" Type="http://schemas.microsoft.com/office/2011/relationships/chartColorStyle" Target="colors36.xml"/><Relationship Id="rId3"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themeOverride" Target="../theme/themeOverride209.xml"/><Relationship Id="rId2"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themeOverride" Target="../theme/themeOverride210.xml"/><Relationship Id="rId2"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themeOverride" Target="../theme/themeOverride211.xml"/><Relationship Id="rId2"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themeOverride" Target="../theme/themeOverride212.xml"/><Relationship Id="rId2"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microsoft.com/office/2011/relationships/chartStyle" Target="style37.xml"/><Relationship Id="rId2" Type="http://schemas.microsoft.com/office/2011/relationships/chartColorStyle" Target="colors37.xml"/><Relationship Id="rId3"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themeOverride" Target="../theme/themeOverride25.xml"/><Relationship Id="rId2"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microsoft.com/office/2011/relationships/chartStyle" Target="style38.xml"/><Relationship Id="rId2" Type="http://schemas.microsoft.com/office/2011/relationships/chartColorStyle" Target="colors38.xml"/><Relationship Id="rId3"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microsoft.com/office/2011/relationships/chartStyle" Target="style39.xml"/><Relationship Id="rId2" Type="http://schemas.microsoft.com/office/2011/relationships/chartColorStyle" Target="colors39.xml"/><Relationship Id="rId3"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microsoft.com/office/2011/relationships/chartStyle" Target="style40.xml"/><Relationship Id="rId2" Type="http://schemas.microsoft.com/office/2011/relationships/chartColorStyle" Target="colors40.xml"/><Relationship Id="rId3"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microsoft.com/office/2011/relationships/chartStyle" Target="style41.xml"/><Relationship Id="rId2" Type="http://schemas.microsoft.com/office/2011/relationships/chartColorStyle" Target="colors41.xml"/><Relationship Id="rId3"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microsoft.com/office/2011/relationships/chartStyle" Target="style42.xml"/><Relationship Id="rId2" Type="http://schemas.microsoft.com/office/2011/relationships/chartColorStyle" Target="colors42.xml"/><Relationship Id="rId3"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microsoft.com/office/2011/relationships/chartStyle" Target="style43.xml"/><Relationship Id="rId2" Type="http://schemas.microsoft.com/office/2011/relationships/chartColorStyle" Target="colors43.xml"/><Relationship Id="rId3"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microsoft.com/office/2011/relationships/chartStyle" Target="style44.xml"/><Relationship Id="rId2" Type="http://schemas.microsoft.com/office/2011/relationships/chartColorStyle" Target="colors44.xml"/><Relationship Id="rId3"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microsoft.com/office/2011/relationships/chartStyle" Target="style45.xml"/><Relationship Id="rId2" Type="http://schemas.microsoft.com/office/2011/relationships/chartColorStyle" Target="colors45.xml"/><Relationship Id="rId3"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microsoft.com/office/2011/relationships/chartStyle" Target="style46.xml"/><Relationship Id="rId2" Type="http://schemas.microsoft.com/office/2011/relationships/chartColorStyle" Target="colors46.xml"/><Relationship Id="rId3"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microsoft.com/office/2011/relationships/chartStyle" Target="style47.xml"/><Relationship Id="rId2" Type="http://schemas.microsoft.com/office/2011/relationships/chartColorStyle" Target="colors47.xml"/><Relationship Id="rId3"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themeOverride" Target="../theme/themeOverride26.xml"/><Relationship Id="rId2"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microsoft.com/office/2011/relationships/chartStyle" Target="style48.xml"/><Relationship Id="rId2" Type="http://schemas.microsoft.com/office/2011/relationships/chartColorStyle" Target="colors48.xml"/><Relationship Id="rId3"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microsoft.com/office/2011/relationships/chartStyle" Target="style49.xml"/><Relationship Id="rId2" Type="http://schemas.microsoft.com/office/2011/relationships/chartColorStyle" Target="colors49.xml"/><Relationship Id="rId3"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microsoft.com/office/2011/relationships/chartStyle" Target="style50.xml"/><Relationship Id="rId2" Type="http://schemas.microsoft.com/office/2011/relationships/chartColorStyle" Target="colors50.xml"/><Relationship Id="rId3"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microsoft.com/office/2011/relationships/chartStyle" Target="style51.xml"/><Relationship Id="rId2" Type="http://schemas.microsoft.com/office/2011/relationships/chartColorStyle" Target="colors51.xml"/><Relationship Id="rId3" Type="http://schemas.openxmlformats.org/officeDocument/2006/relationships/package" Target="../embeddings/Microsoft_Excel_Worksheet262.xlsx"/></Relationships>
</file>

<file path=ppt/charts/_rels/chart27.xml.rels><?xml version='1.0' encoding='UTF-8' standalone='yes'?>
<Relationships xmlns="http://schemas.openxmlformats.org/package/2006/relationships"><Relationship Id="rId1" Type="http://schemas.openxmlformats.org/officeDocument/2006/relationships/themeOverride" Target="../theme/themeOverride27.xml"/><Relationship Id="rId2"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themeOverride" Target="../theme/themeOverride28.xml"/><Relationship Id="rId2"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themeOverride" Target="../theme/themeOverride29.xml"/><Relationship Id="rId2"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themeOverride" Target="../theme/themeOverride3.xml"/><Relationship Id="rId2"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themeOverride" Target="../theme/themeOverride30.xml"/><Relationship Id="rId2"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themeOverride" Target="../theme/themeOverride31.xml"/><Relationship Id="rId2"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themeOverride" Target="../theme/themeOverride32.xml"/><Relationship Id="rId2"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themeOverride" Target="../theme/themeOverride33.xml"/><Relationship Id="rId2"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themeOverride" Target="../theme/themeOverride34.xml"/><Relationship Id="rId2"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themeOverride" Target="../theme/themeOverride35.xml"/><Relationship Id="rId2"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themeOverride" Target="../theme/themeOverride36.xml"/><Relationship Id="rId2"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themeOverride" Target="../theme/themeOverride37.xml"/><Relationship Id="rId2"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themeOverride" Target="../theme/themeOverride38.xml"/><Relationship Id="rId2"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themeOverride" Target="../theme/themeOverride39.xml"/><Relationship Id="rId2"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themeOverride" Target="../theme/themeOverride4.xml"/><Relationship Id="rId2"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themeOverride" Target="../theme/themeOverride40.xml"/><Relationship Id="rId2"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themeOverride" Target="../theme/themeOverride41.xml"/><Relationship Id="rId2"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themeOverride" Target="../theme/themeOverride42.xml"/><Relationship Id="rId2"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themeOverride" Target="../theme/themeOverride43.xml"/><Relationship Id="rId2"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themeOverride" Target="../theme/themeOverride44.xml"/><Relationship Id="rId2"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themeOverride" Target="../theme/themeOverride45.xml"/><Relationship Id="rId2"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themeOverride" Target="../theme/themeOverride46.xml"/><Relationship Id="rId2"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themeOverride" Target="../theme/themeOverride47.xml"/><Relationship Id="rId2"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themeOverride" Target="../theme/themeOverride48.xml"/><Relationship Id="rId2"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themeOverride" Target="../theme/themeOverride49.xml"/><Relationship Id="rId2"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themeOverride" Target="../theme/themeOverride5.xml"/><Relationship Id="rId2"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themeOverride" Target="../theme/themeOverride50.xml"/><Relationship Id="rId2"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themeOverride" Target="../theme/themeOverride51.xml"/><Relationship Id="rId2"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themeOverride" Target="../theme/themeOverride52.xml"/><Relationship Id="rId2"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themeOverride" Target="../theme/themeOverride53.xml"/><Relationship Id="rId2"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themeOverride" Target="../theme/themeOverride54.xml"/><Relationship Id="rId2"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themeOverride" Target="../theme/themeOverride55.xml"/><Relationship Id="rId2"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themeOverride" Target="../theme/themeOverride56.xml"/><Relationship Id="rId2"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themeOverride" Target="../theme/themeOverride57.xml"/><Relationship Id="rId2"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themeOverride" Target="../theme/themeOverride58.xml"/><Relationship Id="rId2"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themeOverride" Target="../theme/themeOverride59.xml"/><Relationship Id="rId2"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themeOverride" Target="../theme/themeOverride6.xml"/><Relationship Id="rId2"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themeOverride" Target="../theme/themeOverride60.xml"/><Relationship Id="rId2"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themeOverride" Target="../theme/themeOverride61.xml"/><Relationship Id="rId2"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themeOverride" Target="../theme/themeOverride62.xml"/><Relationship Id="rId2"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themeOverride" Target="../theme/themeOverride63.xml"/><Relationship Id="rId2"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themeOverride" Target="../theme/themeOverride64.xml"/><Relationship Id="rId2"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themeOverride" Target="../theme/themeOverride65.xml"/><Relationship Id="rId2"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themeOverride" Target="../theme/themeOverride66.xml"/><Relationship Id="rId2"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themeOverride" Target="../theme/themeOverride67.xml"/><Relationship Id="rId2"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themeOverride" Target="../theme/themeOverride68.xml"/><Relationship Id="rId2"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themeOverride" Target="../theme/themeOverride69.xml"/><Relationship Id="rId2"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themeOverride" Target="../theme/themeOverride7.xml"/><Relationship Id="rId2"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themeOverride" Target="../theme/themeOverride70.xml"/><Relationship Id="rId2"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themeOverride" Target="../theme/themeOverride71.xml"/><Relationship Id="rId2"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themeOverride" Target="../theme/themeOverride72.xml"/><Relationship Id="rId2"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themeOverride" Target="../theme/themeOverride73.xml"/><Relationship Id="rId2"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themeOverride" Target="../theme/themeOverride74.xml"/><Relationship Id="rId2"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themeOverride" Target="../theme/themeOverride75.xml"/><Relationship Id="rId2"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themeOverride" Target="../theme/themeOverride76.xml"/><Relationship Id="rId2"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themeOverride" Target="../theme/themeOverride77.xml"/><Relationship Id="rId2"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themeOverride" Target="../theme/themeOverride78.xml"/><Relationship Id="rId2"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themeOverride" Target="../theme/themeOverride79.xml"/><Relationship Id="rId2"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themeOverride" Target="../theme/themeOverride8.xml"/><Relationship Id="rId2"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themeOverride" Target="../theme/themeOverride80.xml"/><Relationship Id="rId2"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themeOverride" Target="../theme/themeOverride81.xml"/><Relationship Id="rId2"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themeOverride" Target="../theme/themeOverride82.xml"/><Relationship Id="rId2"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themeOverride" Target="../theme/themeOverride83.xml"/><Relationship Id="rId2"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themeOverride" Target="../theme/themeOverride84.xml"/><Relationship Id="rId2"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themeOverride" Target="../theme/themeOverride85.xml"/><Relationship Id="rId2"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themeOverride" Target="../theme/themeOverride86.xml"/><Relationship Id="rId2"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themeOverride" Target="../theme/themeOverride87.xml"/><Relationship Id="rId2"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themeOverride" Target="../theme/themeOverride88.xml"/><Relationship Id="rId2"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themeOverride" Target="../theme/themeOverride89.xml"/><Relationship Id="rId2"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themeOverride" Target="../theme/themeOverride9.xml"/><Relationship Id="rId2"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themeOverride" Target="../theme/themeOverride90.xml"/><Relationship Id="rId2"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themeOverride" Target="../theme/themeOverride91.xml"/><Relationship Id="rId2"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themeOverride" Target="../theme/themeOverride92.xml"/><Relationship Id="rId2"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themeOverride" Target="../theme/themeOverride93.xml"/><Relationship Id="rId2"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themeOverride" Target="../theme/themeOverride94.xml"/><Relationship Id="rId2"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themeOverride" Target="../theme/themeOverride95.xml"/><Relationship Id="rId2"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themeOverride" Target="../theme/themeOverride96.xml"/><Relationship Id="rId2"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themeOverride" Target="../theme/themeOverride97.xml"/><Relationship Id="rId2"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themeOverride" Target="../theme/themeOverride98.xml"/><Relationship Id="rId2"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themeOverride" Target="../theme/themeOverride99.xml"/><Relationship Id="rId2"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3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33629726605717514</c:v>
                </c:pt>
                <c:pt idx="1">
                  <c:v>0.17132212320628</c:v>
                </c:pt>
                <c:pt idx="2">
                  <c:v>0.13278442079834468</c:v>
                </c:pt>
                <c:pt idx="3">
                  <c:v>0.12925576415038473</c:v>
                </c:pt>
                <c:pt idx="4">
                  <c:v>0.038386901852451236</c:v>
                </c:pt>
                <c:pt idx="5">
                  <c:v>0.03414761200970014</c:v>
                </c:pt>
                <c:pt idx="6">
                  <c:v>0.02140043766604543</c:v>
                </c:pt>
                <c:pt idx="7">
                  <c:v>0.136405474259618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08048033994309645</c:v>
                </c:pt>
                <c:pt idx="1">
                  <c:v>0.013638969242832318</c:v>
                </c:pt>
                <c:pt idx="2">
                  <c:v>-0.010591382648368917</c:v>
                </c:pt>
                <c:pt idx="3">
                  <c:v>0.007391076543339446</c:v>
                </c:pt>
                <c:pt idx="4">
                  <c:v>-0.007459783763891989</c:v>
                </c:pt>
                <c:pt idx="5">
                  <c:v>-0.0006383509389748937</c:v>
                </c:pt>
                <c:pt idx="6">
                  <c:v>0.0009941093042372916</c:v>
                </c:pt>
                <c:pt idx="7">
                  <c:v>-0.004233745240201547</c:v>
                </c:pt>
                <c:pt idx="8">
                  <c:v>-0.0005408724973232672</c:v>
                </c:pt>
                <c:pt idx="9">
                  <c:v>0.009488094512505728</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Frais A Tartiner | Carrefour</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970859348380675</c:v>
                </c:pt>
                <c:pt idx="1">
                  <c:v>0.16043379926377807</c:v>
                </c:pt>
                <c:pt idx="2">
                  <c:v>0.12966800019878572</c:v>
                </c:pt>
                <c:pt idx="3">
                  <c:v>0.10616482532513906</c:v>
                </c:pt>
                <c:pt idx="4">
                  <c:v>0.10235644019547083</c:v>
                </c:pt>
                <c:pt idx="5">
                  <c:v>0.07424221878310637</c:v>
                </c:pt>
                <c:pt idx="6">
                  <c:v>0.07082597692426837</c:v>
                </c:pt>
                <c:pt idx="7">
                  <c:v>0.010346095515999654</c:v>
                </c:pt>
                <c:pt idx="8">
                  <c:v>8.765991781950135e-07</c:v>
                </c:pt>
                <c:pt idx="9">
                  <c:v>0.04887583235620621</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Salade | Carrefour</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5237334716855074</c:v>
                </c:pt>
                <c:pt idx="1">
                  <c:v>0.1085288811207007</c:v>
                </c:pt>
                <c:pt idx="2">
                  <c:v>0.09396399990213104</c:v>
                </c:pt>
                <c:pt idx="3">
                  <c:v>0.07490979364952201</c:v>
                </c:pt>
                <c:pt idx="4">
                  <c:v>0.024235701196868683</c:v>
                </c:pt>
                <c:pt idx="5">
                  <c:v>0.016144620862610648</c:v>
                </c:pt>
                <c:pt idx="6">
                  <c:v>0.1584835315826594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Enfant | Intermarch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897948502065428</c:v>
                </c:pt>
                <c:pt idx="1">
                  <c:v>0.241380359332221</c:v>
                </c:pt>
                <c:pt idx="2">
                  <c:v>0.234193561272996</c:v>
                </c:pt>
                <c:pt idx="3">
                  <c:v>0.1258307547492551</c:v>
                </c:pt>
                <c:pt idx="4">
                  <c:v>0.0863831811789481</c:v>
                </c:pt>
                <c:pt idx="5">
                  <c:v>0.02241606414349526</c:v>
                </c:pt>
                <c:pt idx="6">
                  <c:v>1.229116541757698e-0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Frais A Tartiner | Intermarch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33495661866567283</c:v>
                </c:pt>
                <c:pt idx="1">
                  <c:v>0.14290204190012662</c:v>
                </c:pt>
                <c:pt idx="2">
                  <c:v>0.1426367440068825</c:v>
                </c:pt>
                <c:pt idx="3">
                  <c:v>0.1347789063774303</c:v>
                </c:pt>
                <c:pt idx="4">
                  <c:v>0.1150146018748184</c:v>
                </c:pt>
                <c:pt idx="5">
                  <c:v>0.07201400188506042</c:v>
                </c:pt>
                <c:pt idx="6">
                  <c:v>0.03541112975172889</c:v>
                </c:pt>
                <c:pt idx="7">
                  <c:v>0.006764785442465831</c:v>
                </c:pt>
                <c:pt idx="8">
                  <c:v>0.015521170095814189</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Salade | Intermarch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5141424807476968</c:v>
                </c:pt>
                <c:pt idx="1">
                  <c:v>0.20662404498031436</c:v>
                </c:pt>
                <c:pt idx="2">
                  <c:v>0.09381987803679426</c:v>
                </c:pt>
                <c:pt idx="3">
                  <c:v>0.06873221084974702</c:v>
                </c:pt>
                <c:pt idx="4">
                  <c:v>0.027078447437878853</c:v>
                </c:pt>
                <c:pt idx="5">
                  <c:v>0.013750855203300237</c:v>
                </c:pt>
                <c:pt idx="6">
                  <c:v>0.0758520827442684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233</a:t>
                    </a:r>
                  </a:p>
                </c:rich>
              </c:tx>
              <c:showLegendKey val="0"/>
              <c:showVal val="1"/>
              <c:showCatName val="0"/>
              <c:showSerName val="0"/>
              <c:showPercent val="0"/>
              <c:showBubbleSize val="0"/>
            </c:dLbl>
            <c:dLbl>
              <c:idx val="1"/>
              <c:tx>
                <c:rich>
                  <a:bodyPr/>
                  <a:lstStyle/>
                  <a:p>
                    <a:pPr>
                      <a:defRPr sz="800">
                        <a:latin typeface="Nexa Book (Body)"/>
                      </a:defRPr>
                    </a:pPr>
                    <a:r>
                      <a:t>222</a:t>
                    </a:r>
                  </a:p>
                </c:rich>
              </c:tx>
              <c:showLegendKey val="0"/>
              <c:showVal val="1"/>
              <c:showCatName val="0"/>
              <c:showSerName val="0"/>
              <c:showPercent val="0"/>
              <c:showBubbleSize val="0"/>
            </c:dLbl>
            <c:dLbl>
              <c:idx val="2"/>
              <c:tx>
                <c:rich>
                  <a:bodyPr/>
                  <a:lstStyle/>
                  <a:p>
                    <a:pPr>
                      <a:defRPr sz="800">
                        <a:latin typeface="Nexa Book (Body)"/>
                      </a:defRPr>
                    </a:pPr>
                    <a:r>
                      <a:t>10</a:t>
                    </a:r>
                  </a:p>
                </c:rich>
              </c:tx>
              <c:showLegendKey val="0"/>
              <c:showVal val="1"/>
              <c:showCatName val="0"/>
              <c:showSerName val="0"/>
              <c:showPercent val="0"/>
              <c:showBubbleSize val="0"/>
            </c:dLbl>
            <c:dLbl>
              <c:idx val="3"/>
              <c:tx>
                <c:rich>
                  <a:bodyPr/>
                  <a:lstStyle/>
                  <a:p>
                    <a:pPr>
                      <a:defRPr sz="800">
                        <a:latin typeface="Nexa Book (Body)"/>
                      </a:defRPr>
                    </a:pPr>
                    <a:r>
                      <a:t>1</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c:v>
                </c:pt>
                <c:pt idx="1">
                  <c:v>Soft Cheese</c:v>
                </c:pt>
                <c:pt idx="2">
                  <c:v>Aperitif</c:v>
                </c:pt>
                <c:pt idx="3">
                  <c:v>Alternative Vegetale</c:v>
                </c:pt>
              </c:strCache>
            </c:strRef>
          </c:cat>
          <c:val>
            <c:numRef>
              <c:f>Sheet1!$B$2:$B$5</c:f>
              <c:numCache>
                <c:formatCode>General</c:formatCode>
                <c:ptCount val="4"/>
                <c:pt idx="0">
                  <c:v>233.135746</c:v>
                </c:pt>
                <c:pt idx="1">
                  <c:v>221.891116</c:v>
                </c:pt>
                <c:pt idx="2">
                  <c:v>10.303675</c:v>
                </c:pt>
                <c:pt idx="3">
                  <c:v>0.940955</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6</a:t>
                    </a:r>
                  </a:p>
                </c:rich>
              </c:tx>
              <c:showLegendKey val="0"/>
              <c:showVal val="1"/>
              <c:showCatName val="0"/>
              <c:showSerName val="0"/>
              <c:showPercent val="0"/>
              <c:showBubbleSize val="0"/>
            </c:dLbl>
            <c:dLbl>
              <c:idx val="1"/>
              <c:tx>
                <c:rich>
                  <a:bodyPr/>
                  <a:lstStyle/>
                  <a:p>
                    <a:pPr>
                      <a:defRPr sz="800">
                        <a:latin typeface="Nexa Book (Body)"/>
                      </a:defRPr>
                    </a:pPr>
                    <a:r>
                      <a:t>6</a:t>
                    </a:r>
                  </a:p>
                </c:rich>
              </c:tx>
              <c:showLegendKey val="0"/>
              <c:showVal val="1"/>
              <c:showCatName val="0"/>
              <c:showSerName val="0"/>
              <c:showPercent val="0"/>
              <c:showBubbleSize val="0"/>
            </c:dLbl>
            <c:dLbl>
              <c:idx val="2"/>
              <c:tx>
                <c:rich>
                  <a:bodyPr/>
                  <a:lstStyle/>
                  <a:p>
                    <a:pPr>
                      <a:defRPr sz="800">
                        <a:latin typeface="Nexa Book (Body)"/>
                      </a:defRPr>
                    </a:pPr>
                  </a:p>
                </c:rich>
              </c:tx>
              <c:showLegendKey val="0"/>
              <c:showVal val="1"/>
              <c:showCatName val="0"/>
              <c:showSerName val="0"/>
              <c:showPercent val="0"/>
              <c:showBubbleSize val="0"/>
            </c:dLbl>
            <c:dLbl>
              <c:idx val="3"/>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c:v>
                </c:pt>
                <c:pt idx="1">
                  <c:v>Soft Cheese</c:v>
                </c:pt>
                <c:pt idx="2">
                  <c:v>Aperitif</c:v>
                </c:pt>
                <c:pt idx="3">
                  <c:v>Alternative Vegetale</c:v>
                </c:pt>
              </c:strCache>
            </c:strRef>
          </c:cat>
          <c:val>
            <c:numRef>
              <c:f>Sheet1!$B$2:$B$5</c:f>
              <c:numCache>
                <c:formatCode>General</c:formatCode>
                <c:ptCount val="4"/>
                <c:pt idx="0">
                  <c:v>5.831683</c:v>
                </c:pt>
                <c:pt idx="1">
                  <c:v>5.831683</c:v>
                </c:pt>
                <c:pt idx="2">
                  <c:v>0.0</c:v>
                </c:pt>
                <c:pt idx="3">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233</a:t>
                    </a:r>
                  </a:p>
                </c:rich>
              </c:tx>
              <c:showLegendKey val="0"/>
              <c:showVal val="1"/>
              <c:showCatName val="0"/>
              <c:showSerName val="0"/>
              <c:showPercent val="0"/>
              <c:showBubbleSize val="0"/>
            </c:dLbl>
            <c:dLbl>
              <c:idx val="1"/>
              <c:tx>
                <c:rich>
                  <a:bodyPr/>
                  <a:lstStyle/>
                  <a:p>
                    <a:pPr>
                      <a:defRPr sz="800">
                        <a:latin typeface="Nexa Book (Body)"/>
                      </a:defRPr>
                    </a:pPr>
                    <a:r>
                      <a:t>222</a:t>
                    </a:r>
                  </a:p>
                </c:rich>
              </c:tx>
              <c:showLegendKey val="0"/>
              <c:showVal val="1"/>
              <c:showCatName val="0"/>
              <c:showSerName val="0"/>
              <c:showPercent val="0"/>
              <c:showBubbleSize val="0"/>
            </c:dLbl>
            <c:dLbl>
              <c:idx val="2"/>
              <c:tx>
                <c:rich>
                  <a:bodyPr/>
                  <a:lstStyle/>
                  <a:p>
                    <a:pPr>
                      <a:defRPr sz="800">
                        <a:latin typeface="Nexa Book (Body)"/>
                      </a:defRPr>
                    </a:pPr>
                    <a:r>
                      <a:t>10</a:t>
                    </a:r>
                  </a:p>
                </c:rich>
              </c:tx>
              <c:showLegendKey val="0"/>
              <c:showVal val="1"/>
              <c:showCatName val="0"/>
              <c:showSerName val="0"/>
              <c:showPercent val="0"/>
              <c:showBubbleSize val="0"/>
            </c:dLbl>
            <c:dLbl>
              <c:idx val="3"/>
              <c:tx>
                <c:rich>
                  <a:bodyPr/>
                  <a:lstStyle/>
                  <a:p>
                    <a:pPr>
                      <a:defRPr sz="800">
                        <a:latin typeface="Nexa Book (Body)"/>
                      </a:defRPr>
                    </a:pPr>
                    <a:r>
                      <a:t>1</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c:v>
                </c:pt>
                <c:pt idx="1">
                  <c:v>Soft Cheese</c:v>
                </c:pt>
                <c:pt idx="2">
                  <c:v>Aperitif</c:v>
                </c:pt>
                <c:pt idx="3">
                  <c:v>Alternative Vegetale</c:v>
                </c:pt>
              </c:strCache>
            </c:strRef>
          </c:cat>
          <c:val>
            <c:numRef>
              <c:f>Sheet1!$B$2:$B$5</c:f>
              <c:numCache>
                <c:formatCode>General</c:formatCode>
                <c:ptCount val="4"/>
                <c:pt idx="0">
                  <c:v>233.135746</c:v>
                </c:pt>
                <c:pt idx="1">
                  <c:v>221.891116</c:v>
                </c:pt>
                <c:pt idx="2">
                  <c:v>10.303675</c:v>
                </c:pt>
                <c:pt idx="3">
                  <c:v>0.940955</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7</a:t>
                    </a:r>
                  </a:p>
                </c:rich>
              </c:tx>
              <c:showLegendKey val="0"/>
              <c:showVal val="1"/>
              <c:showCatName val="0"/>
              <c:showSerName val="0"/>
              <c:showPercent val="0"/>
              <c:showBubbleSize val="0"/>
            </c:dLbl>
            <c:dLbl>
              <c:idx val="1"/>
              <c:tx>
                <c:rich>
                  <a:bodyPr/>
                  <a:lstStyle/>
                  <a:p>
                    <a:pPr>
                      <a:defRPr sz="800">
                        <a:latin typeface="Nexa Book (Body)"/>
                      </a:defRPr>
                    </a:pPr>
                    <a:r>
                      <a:t>7</a:t>
                    </a:r>
                  </a:p>
                </c:rich>
              </c:tx>
              <c:showLegendKey val="0"/>
              <c:showVal val="1"/>
              <c:showCatName val="0"/>
              <c:showSerName val="0"/>
              <c:showPercent val="0"/>
              <c:showBubbleSize val="0"/>
            </c:dLbl>
            <c:dLbl>
              <c:idx val="2"/>
              <c:tx>
                <c:rich>
                  <a:bodyPr/>
                  <a:lstStyle/>
                  <a:p>
                    <a:pPr>
                      <a:defRPr sz="800">
                        <a:latin typeface="Nexa Book (Body)"/>
                      </a:defRPr>
                    </a:pPr>
                  </a:p>
                </c:rich>
              </c:tx>
              <c:showLegendKey val="0"/>
              <c:showVal val="1"/>
              <c:showCatName val="0"/>
              <c:showSerName val="0"/>
              <c:showPercent val="0"/>
              <c:showBubbleSize val="0"/>
            </c:dLbl>
            <c:dLbl>
              <c:idx val="3"/>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c:v>
                </c:pt>
                <c:pt idx="1">
                  <c:v>Soft Cheese</c:v>
                </c:pt>
                <c:pt idx="2">
                  <c:v>Aperitif</c:v>
                </c:pt>
                <c:pt idx="3">
                  <c:v>Alternative Vegetale</c:v>
                </c:pt>
              </c:strCache>
            </c:strRef>
          </c:cat>
          <c:val>
            <c:numRef>
              <c:f>Sheet1!$B$2:$B$5</c:f>
              <c:numCache>
                <c:formatCode>General</c:formatCode>
                <c:ptCount val="4"/>
                <c:pt idx="0">
                  <c:v>6.741136</c:v>
                </c:pt>
                <c:pt idx="1">
                  <c:v>6.741136</c:v>
                </c:pt>
                <c:pt idx="2">
                  <c:v>0.0</c:v>
                </c:pt>
                <c:pt idx="3">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233</a:t>
                    </a:r>
                  </a:p>
                </c:rich>
              </c:tx>
              <c:showLegendKey val="0"/>
              <c:showVal val="1"/>
              <c:showCatName val="0"/>
              <c:showSerName val="0"/>
              <c:showPercent val="0"/>
              <c:showBubbleSize val="0"/>
            </c:dLbl>
            <c:dLbl>
              <c:idx val="1"/>
              <c:tx>
                <c:rich>
                  <a:bodyPr/>
                  <a:lstStyle/>
                  <a:p>
                    <a:pPr>
                      <a:defRPr sz="800">
                        <a:latin typeface="Nexa Book (Body)"/>
                      </a:defRPr>
                    </a:pPr>
                    <a:r>
                      <a:t>222</a:t>
                    </a:r>
                  </a:p>
                </c:rich>
              </c:tx>
              <c:showLegendKey val="0"/>
              <c:showVal val="1"/>
              <c:showCatName val="0"/>
              <c:showSerName val="0"/>
              <c:showPercent val="0"/>
              <c:showBubbleSize val="0"/>
            </c:dLbl>
            <c:dLbl>
              <c:idx val="2"/>
              <c:tx>
                <c:rich>
                  <a:bodyPr/>
                  <a:lstStyle/>
                  <a:p>
                    <a:pPr>
                      <a:defRPr sz="800">
                        <a:latin typeface="Nexa Book (Body)"/>
                      </a:defRPr>
                    </a:pPr>
                    <a:r>
                      <a:t>10</a:t>
                    </a:r>
                  </a:p>
                </c:rich>
              </c:tx>
              <c:showLegendKey val="0"/>
              <c:showVal val="1"/>
              <c:showCatName val="0"/>
              <c:showSerName val="0"/>
              <c:showPercent val="0"/>
              <c:showBubbleSize val="0"/>
            </c:dLbl>
            <c:dLbl>
              <c:idx val="3"/>
              <c:tx>
                <c:rich>
                  <a:bodyPr/>
                  <a:lstStyle/>
                  <a:p>
                    <a:pPr>
                      <a:defRPr sz="800">
                        <a:latin typeface="Nexa Book (Body)"/>
                      </a:defRPr>
                    </a:pPr>
                    <a:r>
                      <a:t>1</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c:v>
                </c:pt>
                <c:pt idx="1">
                  <c:v>Soft Cheese</c:v>
                </c:pt>
                <c:pt idx="2">
                  <c:v>Aperitif</c:v>
                </c:pt>
                <c:pt idx="3">
                  <c:v>Alternative Vegetale</c:v>
                </c:pt>
              </c:strCache>
            </c:strRef>
          </c:cat>
          <c:val>
            <c:numRef>
              <c:f>Sheet1!$B$2:$B$5</c:f>
              <c:numCache>
                <c:formatCode>General</c:formatCode>
                <c:ptCount val="4"/>
                <c:pt idx="0">
                  <c:v>233.135746</c:v>
                </c:pt>
                <c:pt idx="1">
                  <c:v>221.891116</c:v>
                </c:pt>
                <c:pt idx="2">
                  <c:v>10.303675</c:v>
                </c:pt>
                <c:pt idx="3">
                  <c:v>0.940955</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3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3510622705597641</c:v>
                </c:pt>
                <c:pt idx="1">
                  <c:v>0.17048175556519352</c:v>
                </c:pt>
                <c:pt idx="2">
                  <c:v>0.13467894766909008</c:v>
                </c:pt>
                <c:pt idx="3">
                  <c:v>0.10621316177435423</c:v>
                </c:pt>
                <c:pt idx="4">
                  <c:v>0.04033220960500284</c:v>
                </c:pt>
                <c:pt idx="5">
                  <c:v>0.035878088061894284</c:v>
                </c:pt>
                <c:pt idx="6">
                  <c:v>0.022484933556330394</c:v>
                </c:pt>
                <c:pt idx="7">
                  <c:v>0.010432810658359121</c:v>
                </c:pt>
                <c:pt idx="8">
                  <c:v>0.1284358225500114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5</a:t>
                    </a:r>
                  </a:p>
                </c:rich>
              </c:tx>
              <c:showLegendKey val="0"/>
              <c:showVal val="1"/>
              <c:showCatName val="0"/>
              <c:showSerName val="0"/>
              <c:showPercent val="0"/>
              <c:showBubbleSize val="0"/>
            </c:dLbl>
            <c:dLbl>
              <c:idx val="1"/>
              <c:tx>
                <c:rich>
                  <a:bodyPr/>
                  <a:lstStyle/>
                  <a:p>
                    <a:pPr>
                      <a:defRPr sz="800">
                        <a:latin typeface="Nexa Book (Body)"/>
                      </a:defRPr>
                    </a:pPr>
                    <a:r>
                      <a:t>4</a:t>
                    </a:r>
                  </a:p>
                </c:rich>
              </c:tx>
              <c:showLegendKey val="0"/>
              <c:showVal val="1"/>
              <c:showCatName val="0"/>
              <c:showSerName val="0"/>
              <c:showPercent val="0"/>
              <c:showBubbleSize val="0"/>
            </c:dLbl>
            <c:dLbl>
              <c:idx val="2"/>
              <c:tx>
                <c:rich>
                  <a:bodyPr/>
                  <a:lstStyle/>
                  <a:p>
                    <a:pPr>
                      <a:defRPr sz="800">
                        <a:latin typeface="Nexa Book (Body)"/>
                      </a:defRPr>
                    </a:pPr>
                    <a:r>
                      <a:t>1</a:t>
                    </a:r>
                  </a:p>
                </c:rich>
              </c:tx>
              <c:showLegendKey val="0"/>
              <c:showVal val="1"/>
              <c:showCatName val="0"/>
              <c:showSerName val="0"/>
              <c:showPercent val="0"/>
              <c:showBubbleSize val="0"/>
            </c:dLbl>
            <c:dLbl>
              <c:idx val="3"/>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c:v>
                </c:pt>
                <c:pt idx="1">
                  <c:v>Soft Cheese</c:v>
                </c:pt>
                <c:pt idx="2">
                  <c:v>Aperitif</c:v>
                </c:pt>
                <c:pt idx="3">
                  <c:v>Alternative Vegetale</c:v>
                </c:pt>
              </c:strCache>
            </c:strRef>
          </c:cat>
          <c:val>
            <c:numRef>
              <c:f>Sheet1!$B$2:$B$5</c:f>
              <c:numCache>
                <c:formatCode>General</c:formatCode>
                <c:ptCount val="4"/>
                <c:pt idx="0">
                  <c:v>5.396319</c:v>
                </c:pt>
                <c:pt idx="1">
                  <c:v>4.32524</c:v>
                </c:pt>
                <c:pt idx="2">
                  <c:v>1.030688</c:v>
                </c:pt>
                <c:pt idx="3">
                  <c:v>0.040391</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233</a:t>
                    </a:r>
                  </a:p>
                </c:rich>
              </c:tx>
              <c:showLegendKey val="0"/>
              <c:showVal val="1"/>
              <c:showCatName val="0"/>
              <c:showSerName val="0"/>
              <c:showPercent val="0"/>
              <c:showBubbleSize val="0"/>
            </c:dLbl>
            <c:dLbl>
              <c:idx val="1"/>
              <c:tx>
                <c:rich>
                  <a:bodyPr/>
                  <a:lstStyle/>
                  <a:p>
                    <a:pPr>
                      <a:defRPr sz="800">
                        <a:latin typeface="Nexa Book (Body)"/>
                      </a:defRPr>
                    </a:pPr>
                    <a:r>
                      <a:t>222</a:t>
                    </a:r>
                  </a:p>
                </c:rich>
              </c:tx>
              <c:showLegendKey val="0"/>
              <c:showVal val="1"/>
              <c:showCatName val="0"/>
              <c:showSerName val="0"/>
              <c:showPercent val="0"/>
              <c:showBubbleSize val="0"/>
            </c:dLbl>
            <c:dLbl>
              <c:idx val="2"/>
              <c:tx>
                <c:rich>
                  <a:bodyPr/>
                  <a:lstStyle/>
                  <a:p>
                    <a:pPr>
                      <a:defRPr sz="800">
                        <a:latin typeface="Nexa Book (Body)"/>
                      </a:defRPr>
                    </a:pPr>
                    <a:r>
                      <a:t>10</a:t>
                    </a:r>
                  </a:p>
                </c:rich>
              </c:tx>
              <c:showLegendKey val="0"/>
              <c:showVal val="1"/>
              <c:showCatName val="0"/>
              <c:showSerName val="0"/>
              <c:showPercent val="0"/>
              <c:showBubbleSize val="0"/>
            </c:dLbl>
            <c:dLbl>
              <c:idx val="3"/>
              <c:tx>
                <c:rich>
                  <a:bodyPr/>
                  <a:lstStyle/>
                  <a:p>
                    <a:pPr>
                      <a:defRPr sz="800">
                        <a:latin typeface="Nexa Book (Body)"/>
                      </a:defRPr>
                    </a:pPr>
                    <a:r>
                      <a:t>1</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c:v>
                </c:pt>
                <c:pt idx="1">
                  <c:v>Soft Cheese</c:v>
                </c:pt>
                <c:pt idx="2">
                  <c:v>Aperitif</c:v>
                </c:pt>
                <c:pt idx="3">
                  <c:v>Alternative Vegetale</c:v>
                </c:pt>
              </c:strCache>
            </c:strRef>
          </c:cat>
          <c:val>
            <c:numRef>
              <c:f>Sheet1!$B$2:$B$5</c:f>
              <c:numCache>
                <c:formatCode>General</c:formatCode>
                <c:ptCount val="4"/>
                <c:pt idx="0">
                  <c:v>233.135746</c:v>
                </c:pt>
                <c:pt idx="1">
                  <c:v>221.891116</c:v>
                </c:pt>
                <c:pt idx="2">
                  <c:v>10.303675</c:v>
                </c:pt>
                <c:pt idx="3">
                  <c:v>0.940955</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31</a:t>
                    </a:r>
                  </a:p>
                </c:rich>
              </c:tx>
              <c:showLegendKey val="0"/>
              <c:showVal val="1"/>
              <c:showCatName val="0"/>
              <c:showSerName val="0"/>
              <c:showPercent val="0"/>
              <c:showBubbleSize val="0"/>
            </c:dLbl>
            <c:dLbl>
              <c:idx val="1"/>
              <c:tx>
                <c:rich>
                  <a:bodyPr/>
                  <a:lstStyle/>
                  <a:p>
                    <a:pPr>
                      <a:defRPr sz="800">
                        <a:latin typeface="Nexa Book (Body)"/>
                      </a:defRPr>
                    </a:pPr>
                    <a:r>
                      <a:t>24</a:t>
                    </a:r>
                  </a:p>
                </c:rich>
              </c:tx>
              <c:showLegendKey val="0"/>
              <c:showVal val="1"/>
              <c:showCatName val="0"/>
              <c:showSerName val="0"/>
              <c:showPercent val="0"/>
              <c:showBubbleSize val="0"/>
            </c:dLbl>
            <c:dLbl>
              <c:idx val="2"/>
              <c:tx>
                <c:rich>
                  <a:bodyPr/>
                  <a:lstStyle/>
                  <a:p>
                    <a:pPr>
                      <a:defRPr sz="800">
                        <a:latin typeface="Nexa Book (Body)"/>
                      </a:defRPr>
                    </a:pPr>
                    <a:r>
                      <a:t>7</a:t>
                    </a:r>
                  </a:p>
                </c:rich>
              </c:tx>
              <c:showLegendKey val="0"/>
              <c:showVal val="1"/>
              <c:showCatName val="0"/>
              <c:showSerName val="0"/>
              <c:showPercent val="0"/>
              <c:showBubbleSize val="0"/>
            </c:dLbl>
            <c:dLbl>
              <c:idx val="3"/>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c:v>
                </c:pt>
                <c:pt idx="1">
                  <c:v>Soft Cheese</c:v>
                </c:pt>
                <c:pt idx="2">
                  <c:v>Aperitif</c:v>
                </c:pt>
                <c:pt idx="3">
                  <c:v>Alternative Vegetale</c:v>
                </c:pt>
              </c:strCache>
            </c:strRef>
          </c:cat>
          <c:val>
            <c:numRef>
              <c:f>Sheet1!$B$2:$B$5</c:f>
              <c:numCache>
                <c:formatCode>General</c:formatCode>
                <c:ptCount val="4"/>
                <c:pt idx="0">
                  <c:v>30.956795</c:v>
                </c:pt>
                <c:pt idx="1">
                  <c:v>23.567757</c:v>
                </c:pt>
                <c:pt idx="2">
                  <c:v>7.143856</c:v>
                </c:pt>
                <c:pt idx="3">
                  <c:v>0.245182</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184</a:t>
                    </a:r>
                  </a:p>
                </c:rich>
              </c:tx>
              <c:showLegendKey val="0"/>
              <c:showVal val="1"/>
              <c:showCatName val="0"/>
              <c:showSerName val="0"/>
              <c:showPercent val="0"/>
              <c:showBubbleSize val="0"/>
            </c:dLbl>
            <c:dLbl>
              <c:idx val="1"/>
              <c:tx>
                <c:rich>
                  <a:bodyPr/>
                  <a:lstStyle/>
                  <a:p>
                    <a:pPr>
                      <a:defRPr sz="800">
                        <a:latin typeface="Nexa Book (Body)"/>
                      </a:defRPr>
                    </a:pPr>
                    <a:r>
                      <a:t>174</a:t>
                    </a:r>
                  </a:p>
                </c:rich>
              </c:tx>
              <c:showLegendKey val="0"/>
              <c:showVal val="1"/>
              <c:showCatName val="0"/>
              <c:showSerName val="0"/>
              <c:showPercent val="0"/>
              <c:showBubbleSize val="0"/>
            </c:dLbl>
            <c:dLbl>
              <c:idx val="2"/>
              <c:tx>
                <c:rich>
                  <a:bodyPr/>
                  <a:lstStyle/>
                  <a:p>
                    <a:pPr>
                      <a:defRPr sz="800">
                        <a:latin typeface="Nexa Book (Body)"/>
                      </a:defRPr>
                    </a:pPr>
                    <a:r>
                      <a:t>10</a:t>
                    </a:r>
                  </a:p>
                </c:rich>
              </c:tx>
              <c:showLegendKey val="0"/>
              <c:showVal val="1"/>
              <c:showCatName val="0"/>
              <c:showSerName val="0"/>
              <c:showPercent val="0"/>
              <c:showBubbleSize val="0"/>
            </c:dLbl>
            <c:dLbl>
              <c:idx val="3"/>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c:v>
                </c:pt>
                <c:pt idx="1">
                  <c:v>Soft Cheese</c:v>
                </c:pt>
                <c:pt idx="2">
                  <c:v>Aperitif</c:v>
                </c:pt>
                <c:pt idx="3">
                  <c:v>Alternative Vegetale</c:v>
                </c:pt>
              </c:strCache>
            </c:strRef>
          </c:cat>
          <c:val>
            <c:numRef>
              <c:f>Sheet1!$B$2:$B$5</c:f>
              <c:numCache>
                <c:formatCode>General</c:formatCode>
                <c:ptCount val="4"/>
                <c:pt idx="0">
                  <c:v>184.201616</c:v>
                </c:pt>
                <c:pt idx="1">
                  <c:v>173.731406</c:v>
                </c:pt>
                <c:pt idx="2">
                  <c:v>10.017999</c:v>
                </c:pt>
                <c:pt idx="3">
                  <c:v>0.452211</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5</a:t>
                    </a:r>
                  </a:p>
                </c:rich>
              </c:tx>
              <c:showLegendKey val="0"/>
              <c:showVal val="1"/>
              <c:showCatName val="0"/>
              <c:showSerName val="0"/>
              <c:showPercent val="0"/>
              <c:showBubbleSize val="0"/>
            </c:dLbl>
            <c:dLbl>
              <c:idx val="1"/>
              <c:tx>
                <c:rich>
                  <a:bodyPr/>
                  <a:lstStyle/>
                  <a:p>
                    <a:pPr>
                      <a:defRPr sz="800">
                        <a:latin typeface="Nexa Book (Body)"/>
                      </a:defRPr>
                    </a:pPr>
                    <a:r>
                      <a:t>5</a:t>
                    </a:r>
                  </a:p>
                </c:rich>
              </c:tx>
              <c:showLegendKey val="0"/>
              <c:showVal val="1"/>
              <c:showCatName val="0"/>
              <c:showSerName val="0"/>
              <c:showPercent val="0"/>
              <c:showBubbleSize val="0"/>
            </c:dLbl>
            <c:dLbl>
              <c:idx val="2"/>
              <c:tx>
                <c:rich>
                  <a:bodyPr/>
                  <a:lstStyle/>
                  <a:p>
                    <a:pPr>
                      <a:defRPr sz="800">
                        <a:latin typeface="Nexa Book (Body)"/>
                      </a:defRPr>
                    </a:pPr>
                  </a:p>
                </c:rich>
              </c:tx>
              <c:showLegendKey val="0"/>
              <c:showVal val="1"/>
              <c:showCatName val="0"/>
              <c:showSerName val="0"/>
              <c:showPercent val="0"/>
              <c:showBubbleSize val="0"/>
            </c:dLbl>
            <c:dLbl>
              <c:idx val="3"/>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c:v>
                </c:pt>
                <c:pt idx="1">
                  <c:v>Soft Cheese</c:v>
                </c:pt>
                <c:pt idx="2">
                  <c:v>Aperitif</c:v>
                </c:pt>
                <c:pt idx="3">
                  <c:v>Alternative Vegetale</c:v>
                </c:pt>
              </c:strCache>
            </c:strRef>
          </c:cat>
          <c:val>
            <c:numRef>
              <c:f>Sheet1!$B$2:$B$5</c:f>
              <c:numCache>
                <c:formatCode>General</c:formatCode>
                <c:ptCount val="4"/>
                <c:pt idx="0">
                  <c:v>4.747021</c:v>
                </c:pt>
                <c:pt idx="1">
                  <c:v>4.747021</c:v>
                </c:pt>
                <c:pt idx="2">
                  <c:v>0.0</c:v>
                </c:pt>
                <c:pt idx="3">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184</a:t>
                    </a:r>
                  </a:p>
                </c:rich>
              </c:tx>
              <c:showLegendKey val="0"/>
              <c:showVal val="1"/>
              <c:showCatName val="0"/>
              <c:showSerName val="0"/>
              <c:showPercent val="0"/>
              <c:showBubbleSize val="0"/>
            </c:dLbl>
            <c:dLbl>
              <c:idx val="1"/>
              <c:tx>
                <c:rich>
                  <a:bodyPr/>
                  <a:lstStyle/>
                  <a:p>
                    <a:pPr>
                      <a:defRPr sz="800">
                        <a:latin typeface="Nexa Book (Body)"/>
                      </a:defRPr>
                    </a:pPr>
                    <a:r>
                      <a:t>174</a:t>
                    </a:r>
                  </a:p>
                </c:rich>
              </c:tx>
              <c:showLegendKey val="0"/>
              <c:showVal val="1"/>
              <c:showCatName val="0"/>
              <c:showSerName val="0"/>
              <c:showPercent val="0"/>
              <c:showBubbleSize val="0"/>
            </c:dLbl>
            <c:dLbl>
              <c:idx val="2"/>
              <c:tx>
                <c:rich>
                  <a:bodyPr/>
                  <a:lstStyle/>
                  <a:p>
                    <a:pPr>
                      <a:defRPr sz="800">
                        <a:latin typeface="Nexa Book (Body)"/>
                      </a:defRPr>
                    </a:pPr>
                    <a:r>
                      <a:t>10</a:t>
                    </a:r>
                  </a:p>
                </c:rich>
              </c:tx>
              <c:showLegendKey val="0"/>
              <c:showVal val="1"/>
              <c:showCatName val="0"/>
              <c:showSerName val="0"/>
              <c:showPercent val="0"/>
              <c:showBubbleSize val="0"/>
            </c:dLbl>
            <c:dLbl>
              <c:idx val="3"/>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c:v>
                </c:pt>
                <c:pt idx="1">
                  <c:v>Soft Cheese</c:v>
                </c:pt>
                <c:pt idx="2">
                  <c:v>Aperitif</c:v>
                </c:pt>
                <c:pt idx="3">
                  <c:v>Alternative Vegetale</c:v>
                </c:pt>
              </c:strCache>
            </c:strRef>
          </c:cat>
          <c:val>
            <c:numRef>
              <c:f>Sheet1!$B$2:$B$5</c:f>
              <c:numCache>
                <c:formatCode>General</c:formatCode>
                <c:ptCount val="4"/>
                <c:pt idx="0">
                  <c:v>184.201616</c:v>
                </c:pt>
                <c:pt idx="1">
                  <c:v>173.731406</c:v>
                </c:pt>
                <c:pt idx="2">
                  <c:v>10.017999</c:v>
                </c:pt>
                <c:pt idx="3">
                  <c:v>0.452211</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6</a:t>
                    </a:r>
                  </a:p>
                </c:rich>
              </c:tx>
              <c:showLegendKey val="0"/>
              <c:showVal val="1"/>
              <c:showCatName val="0"/>
              <c:showSerName val="0"/>
              <c:showPercent val="0"/>
              <c:showBubbleSize val="0"/>
            </c:dLbl>
            <c:dLbl>
              <c:idx val="1"/>
              <c:tx>
                <c:rich>
                  <a:bodyPr/>
                  <a:lstStyle/>
                  <a:p>
                    <a:pPr>
                      <a:defRPr sz="800">
                        <a:latin typeface="Nexa Book (Body)"/>
                      </a:defRPr>
                    </a:pPr>
                    <a:r>
                      <a:t>6</a:t>
                    </a:r>
                  </a:p>
                </c:rich>
              </c:tx>
              <c:showLegendKey val="0"/>
              <c:showVal val="1"/>
              <c:showCatName val="0"/>
              <c:showSerName val="0"/>
              <c:showPercent val="0"/>
              <c:showBubbleSize val="0"/>
            </c:dLbl>
            <c:dLbl>
              <c:idx val="2"/>
              <c:tx>
                <c:rich>
                  <a:bodyPr/>
                  <a:lstStyle/>
                  <a:p>
                    <a:pPr>
                      <a:defRPr sz="800">
                        <a:latin typeface="Nexa Book (Body)"/>
                      </a:defRPr>
                    </a:pPr>
                  </a:p>
                </c:rich>
              </c:tx>
              <c:showLegendKey val="0"/>
              <c:showVal val="1"/>
              <c:showCatName val="0"/>
              <c:showSerName val="0"/>
              <c:showPercent val="0"/>
              <c:showBubbleSize val="0"/>
            </c:dLbl>
            <c:dLbl>
              <c:idx val="3"/>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c:v>
                </c:pt>
                <c:pt idx="1">
                  <c:v>Soft Cheese</c:v>
                </c:pt>
                <c:pt idx="2">
                  <c:v>Aperitif</c:v>
                </c:pt>
                <c:pt idx="3">
                  <c:v>Alternative Vegetale</c:v>
                </c:pt>
              </c:strCache>
            </c:strRef>
          </c:cat>
          <c:val>
            <c:numRef>
              <c:f>Sheet1!$B$2:$B$5</c:f>
              <c:numCache>
                <c:formatCode>General</c:formatCode>
                <c:ptCount val="4"/>
                <c:pt idx="0">
                  <c:v>5.658598</c:v>
                </c:pt>
                <c:pt idx="1">
                  <c:v>5.658598</c:v>
                </c:pt>
                <c:pt idx="2">
                  <c:v>0.0</c:v>
                </c:pt>
                <c:pt idx="3">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184</a:t>
                    </a:r>
                  </a:p>
                </c:rich>
              </c:tx>
              <c:showLegendKey val="0"/>
              <c:showVal val="1"/>
              <c:showCatName val="0"/>
              <c:showSerName val="0"/>
              <c:showPercent val="0"/>
              <c:showBubbleSize val="0"/>
            </c:dLbl>
            <c:dLbl>
              <c:idx val="1"/>
              <c:tx>
                <c:rich>
                  <a:bodyPr/>
                  <a:lstStyle/>
                  <a:p>
                    <a:pPr>
                      <a:defRPr sz="800">
                        <a:latin typeface="Nexa Book (Body)"/>
                      </a:defRPr>
                    </a:pPr>
                    <a:r>
                      <a:t>174</a:t>
                    </a:r>
                  </a:p>
                </c:rich>
              </c:tx>
              <c:showLegendKey val="0"/>
              <c:showVal val="1"/>
              <c:showCatName val="0"/>
              <c:showSerName val="0"/>
              <c:showPercent val="0"/>
              <c:showBubbleSize val="0"/>
            </c:dLbl>
            <c:dLbl>
              <c:idx val="2"/>
              <c:tx>
                <c:rich>
                  <a:bodyPr/>
                  <a:lstStyle/>
                  <a:p>
                    <a:pPr>
                      <a:defRPr sz="800">
                        <a:latin typeface="Nexa Book (Body)"/>
                      </a:defRPr>
                    </a:pPr>
                    <a:r>
                      <a:t>10</a:t>
                    </a:r>
                  </a:p>
                </c:rich>
              </c:tx>
              <c:showLegendKey val="0"/>
              <c:showVal val="1"/>
              <c:showCatName val="0"/>
              <c:showSerName val="0"/>
              <c:showPercent val="0"/>
              <c:showBubbleSize val="0"/>
            </c:dLbl>
            <c:dLbl>
              <c:idx val="3"/>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c:v>
                </c:pt>
                <c:pt idx="1">
                  <c:v>Soft Cheese</c:v>
                </c:pt>
                <c:pt idx="2">
                  <c:v>Aperitif</c:v>
                </c:pt>
                <c:pt idx="3">
                  <c:v>Alternative Vegetale</c:v>
                </c:pt>
              </c:strCache>
            </c:strRef>
          </c:cat>
          <c:val>
            <c:numRef>
              <c:f>Sheet1!$B$2:$B$5</c:f>
              <c:numCache>
                <c:formatCode>General</c:formatCode>
                <c:ptCount val="4"/>
                <c:pt idx="0">
                  <c:v>184.201616</c:v>
                </c:pt>
                <c:pt idx="1">
                  <c:v>173.731406</c:v>
                </c:pt>
                <c:pt idx="2">
                  <c:v>10.017999</c:v>
                </c:pt>
                <c:pt idx="3">
                  <c:v>0.452211</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5</a:t>
                    </a:r>
                  </a:p>
                </c:rich>
              </c:tx>
              <c:showLegendKey val="0"/>
              <c:showVal val="1"/>
              <c:showCatName val="0"/>
              <c:showSerName val="0"/>
              <c:showPercent val="0"/>
              <c:showBubbleSize val="0"/>
            </c:dLbl>
            <c:dLbl>
              <c:idx val="1"/>
              <c:tx>
                <c:rich>
                  <a:bodyPr/>
                  <a:lstStyle/>
                  <a:p>
                    <a:pPr>
                      <a:defRPr sz="800">
                        <a:latin typeface="Nexa Book (Body)"/>
                      </a:defRPr>
                    </a:pPr>
                    <a:r>
                      <a:t>4</a:t>
                    </a:r>
                  </a:p>
                </c:rich>
              </c:tx>
              <c:showLegendKey val="0"/>
              <c:showVal val="1"/>
              <c:showCatName val="0"/>
              <c:showSerName val="0"/>
              <c:showPercent val="0"/>
              <c:showBubbleSize val="0"/>
            </c:dLbl>
            <c:dLbl>
              <c:idx val="2"/>
              <c:tx>
                <c:rich>
                  <a:bodyPr/>
                  <a:lstStyle/>
                  <a:p>
                    <a:pPr>
                      <a:defRPr sz="800">
                        <a:latin typeface="Nexa Book (Body)"/>
                      </a:defRPr>
                    </a:pPr>
                    <a:r>
                      <a:t>1</a:t>
                    </a:r>
                  </a:p>
                </c:rich>
              </c:tx>
              <c:showLegendKey val="0"/>
              <c:showVal val="1"/>
              <c:showCatName val="0"/>
              <c:showSerName val="0"/>
              <c:showPercent val="0"/>
              <c:showBubbleSize val="0"/>
            </c:dLbl>
            <c:dLbl>
              <c:idx val="3"/>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c:v>
                </c:pt>
                <c:pt idx="1">
                  <c:v>Soft Cheese</c:v>
                </c:pt>
                <c:pt idx="2">
                  <c:v>Aperitif</c:v>
                </c:pt>
                <c:pt idx="3">
                  <c:v>Alternative Vegetale</c:v>
                </c:pt>
              </c:strCache>
            </c:strRef>
          </c:cat>
          <c:val>
            <c:numRef>
              <c:f>Sheet1!$B$2:$B$5</c:f>
              <c:numCache>
                <c:formatCode>General</c:formatCode>
                <c:ptCount val="4"/>
                <c:pt idx="0">
                  <c:v>5.41902</c:v>
                </c:pt>
                <c:pt idx="1">
                  <c:v>4.240955</c:v>
                </c:pt>
                <c:pt idx="2">
                  <c:v>1.178065</c:v>
                </c:pt>
                <c:pt idx="3">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184</a:t>
                    </a:r>
                  </a:p>
                </c:rich>
              </c:tx>
              <c:showLegendKey val="0"/>
              <c:showVal val="1"/>
              <c:showCatName val="0"/>
              <c:showSerName val="0"/>
              <c:showPercent val="0"/>
              <c:showBubbleSize val="0"/>
            </c:dLbl>
            <c:dLbl>
              <c:idx val="1"/>
              <c:tx>
                <c:rich>
                  <a:bodyPr/>
                  <a:lstStyle/>
                  <a:p>
                    <a:pPr>
                      <a:defRPr sz="800">
                        <a:latin typeface="Nexa Book (Body)"/>
                      </a:defRPr>
                    </a:pPr>
                    <a:r>
                      <a:t>174</a:t>
                    </a:r>
                  </a:p>
                </c:rich>
              </c:tx>
              <c:showLegendKey val="0"/>
              <c:showVal val="1"/>
              <c:showCatName val="0"/>
              <c:showSerName val="0"/>
              <c:showPercent val="0"/>
              <c:showBubbleSize val="0"/>
            </c:dLbl>
            <c:dLbl>
              <c:idx val="2"/>
              <c:tx>
                <c:rich>
                  <a:bodyPr/>
                  <a:lstStyle/>
                  <a:p>
                    <a:pPr>
                      <a:defRPr sz="800">
                        <a:latin typeface="Nexa Book (Body)"/>
                      </a:defRPr>
                    </a:pPr>
                    <a:r>
                      <a:t>10</a:t>
                    </a:r>
                  </a:p>
                </c:rich>
              </c:tx>
              <c:showLegendKey val="0"/>
              <c:showVal val="1"/>
              <c:showCatName val="0"/>
              <c:showSerName val="0"/>
              <c:showPercent val="0"/>
              <c:showBubbleSize val="0"/>
            </c:dLbl>
            <c:dLbl>
              <c:idx val="3"/>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c:v>
                </c:pt>
                <c:pt idx="1">
                  <c:v>Soft Cheese</c:v>
                </c:pt>
                <c:pt idx="2">
                  <c:v>Aperitif</c:v>
                </c:pt>
                <c:pt idx="3">
                  <c:v>Alternative Vegetale</c:v>
                </c:pt>
              </c:strCache>
            </c:strRef>
          </c:cat>
          <c:val>
            <c:numRef>
              <c:f>Sheet1!$B$2:$B$5</c:f>
              <c:numCache>
                <c:formatCode>General</c:formatCode>
                <c:ptCount val="4"/>
                <c:pt idx="0">
                  <c:v>184.201616</c:v>
                </c:pt>
                <c:pt idx="1">
                  <c:v>173.731406</c:v>
                </c:pt>
                <c:pt idx="2">
                  <c:v>10.017999</c:v>
                </c:pt>
                <c:pt idx="3">
                  <c:v>0.452211</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0</c:f>
              <c:numCache>
                <c:formatCode>General</c:formatCode>
                <c:ptCount val="9"/>
                <c:pt idx="0">
                  <c:v>0.011847591622199338</c:v>
                </c:pt>
                <c:pt idx="1">
                  <c:v>-0.0032348799014859375</c:v>
                </c:pt>
                <c:pt idx="2">
                  <c:v>-0.006969487938203511</c:v>
                </c:pt>
                <c:pt idx="3">
                  <c:v>0.00178661016361642</c:v>
                </c:pt>
                <c:pt idx="4">
                  <c:v>-0.0030471988582506104</c:v>
                </c:pt>
                <c:pt idx="5">
                  <c:v>0.0016121799025872983</c:v>
                </c:pt>
                <c:pt idx="6">
                  <c:v>0.0022786689027949857</c:v>
                </c:pt>
                <c:pt idx="7">
                  <c:v>0.00045710782692176544</c:v>
                </c:pt>
                <c:pt idx="8">
                  <c:v>-0.00473059172017974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26</a:t>
                    </a:r>
                  </a:p>
                </c:rich>
              </c:tx>
              <c:showLegendKey val="0"/>
              <c:showVal val="1"/>
              <c:showCatName val="0"/>
              <c:showSerName val="0"/>
              <c:showPercent val="0"/>
              <c:showBubbleSize val="0"/>
            </c:dLbl>
            <c:dLbl>
              <c:idx val="1"/>
              <c:tx>
                <c:rich>
                  <a:bodyPr/>
                  <a:lstStyle/>
                  <a:p>
                    <a:pPr>
                      <a:defRPr sz="800">
                        <a:latin typeface="Nexa Book (Body)"/>
                      </a:defRPr>
                    </a:pPr>
                    <a:r>
                      <a:t>19</a:t>
                    </a:r>
                  </a:p>
                </c:rich>
              </c:tx>
              <c:showLegendKey val="0"/>
              <c:showVal val="1"/>
              <c:showCatName val="0"/>
              <c:showSerName val="0"/>
              <c:showPercent val="0"/>
              <c:showBubbleSize val="0"/>
            </c:dLbl>
            <c:dLbl>
              <c:idx val="2"/>
              <c:tx>
                <c:rich>
                  <a:bodyPr/>
                  <a:lstStyle/>
                  <a:p>
                    <a:pPr>
                      <a:defRPr sz="800">
                        <a:latin typeface="Nexa Book (Body)"/>
                      </a:defRPr>
                    </a:pPr>
                    <a:r>
                      <a:t>7</a:t>
                    </a:r>
                  </a:p>
                </c:rich>
              </c:tx>
              <c:showLegendKey val="0"/>
              <c:showVal val="1"/>
              <c:showCatName val="0"/>
              <c:showSerName val="0"/>
              <c:showPercent val="0"/>
              <c:showBubbleSize val="0"/>
            </c:dLbl>
            <c:dLbl>
              <c:idx val="3"/>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5</c:f>
              <c:strCache>
                <c:ptCount val="4"/>
                <c:pt idx="0">
                  <c:v>Grand</c:v>
                </c:pt>
                <c:pt idx="1">
                  <c:v>Soft Cheese</c:v>
                </c:pt>
                <c:pt idx="2">
                  <c:v>Aperitif</c:v>
                </c:pt>
                <c:pt idx="3">
                  <c:v>Alternative Vegetale</c:v>
                </c:pt>
              </c:strCache>
            </c:strRef>
          </c:cat>
          <c:val>
            <c:numRef>
              <c:f>Sheet1!$B$2:$B$5</c:f>
              <c:numCache>
                <c:formatCode>General</c:formatCode>
                <c:ptCount val="4"/>
                <c:pt idx="0">
                  <c:v>26.434171</c:v>
                </c:pt>
                <c:pt idx="1">
                  <c:v>19.35982</c:v>
                </c:pt>
                <c:pt idx="2">
                  <c:v>6.950194</c:v>
                </c:pt>
                <c:pt idx="3">
                  <c:v>0.124157</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233</a:t>
                    </a:r>
                  </a:p>
                </c:rich>
              </c:tx>
              <c:showLegendKey val="0"/>
              <c:showVal val="1"/>
              <c:showCatName val="0"/>
              <c:showSerName val="0"/>
              <c:showPercent val="0"/>
              <c:showBubbleSize val="0"/>
            </c:dLbl>
            <c:dLbl>
              <c:idx val="1"/>
              <c:tx>
                <c:rich>
                  <a:bodyPr/>
                  <a:lstStyle/>
                  <a:p>
                    <a:pPr>
                      <a:defRPr sz="800">
                        <a:latin typeface="Nexa Book (Body)"/>
                      </a:defRPr>
                    </a:pPr>
                    <a:r>
                      <a:t>80</a:t>
                    </a:r>
                  </a:p>
                </c:rich>
              </c:tx>
              <c:showLegendKey val="0"/>
              <c:showVal val="1"/>
              <c:showCatName val="0"/>
              <c:showSerName val="0"/>
              <c:showPercent val="0"/>
              <c:showBubbleSize val="0"/>
            </c:dLbl>
            <c:dLbl>
              <c:idx val="2"/>
              <c:tx>
                <c:rich>
                  <a:bodyPr/>
                  <a:lstStyle/>
                  <a:p>
                    <a:pPr>
                      <a:defRPr sz="800">
                        <a:latin typeface="Nexa Book (Body)"/>
                      </a:defRPr>
                    </a:pPr>
                    <a:r>
                      <a:t>49</a:t>
                    </a:r>
                  </a:p>
                </c:rich>
              </c:tx>
              <c:showLegendKey val="0"/>
              <c:showVal val="1"/>
              <c:showCatName val="0"/>
              <c:showSerName val="0"/>
              <c:showPercent val="0"/>
              <c:showBubbleSize val="0"/>
            </c:dLbl>
            <c:dLbl>
              <c:idx val="3"/>
              <c:tx>
                <c:rich>
                  <a:bodyPr/>
                  <a:lstStyle/>
                  <a:p>
                    <a:pPr>
                      <a:defRPr sz="800">
                        <a:latin typeface="Nexa Book (Body)"/>
                      </a:defRPr>
                    </a:pPr>
                    <a:r>
                      <a:t>33</a:t>
                    </a:r>
                  </a:p>
                </c:rich>
              </c:tx>
              <c:showLegendKey val="0"/>
              <c:showVal val="1"/>
              <c:showCatName val="0"/>
              <c:showSerName val="0"/>
              <c:showPercent val="0"/>
              <c:showBubbleSize val="0"/>
            </c:dLbl>
            <c:dLbl>
              <c:idx val="4"/>
              <c:tx>
                <c:rich>
                  <a:bodyPr/>
                  <a:lstStyle/>
                  <a:p>
                    <a:pPr>
                      <a:defRPr sz="800">
                        <a:latin typeface="Nexa Book (Body)"/>
                      </a:defRPr>
                    </a:pPr>
                    <a:r>
                      <a:t>30</a:t>
                    </a:r>
                  </a:p>
                </c:rich>
              </c:tx>
              <c:showLegendKey val="0"/>
              <c:showVal val="1"/>
              <c:showCatName val="0"/>
              <c:showSerName val="0"/>
              <c:showPercent val="0"/>
              <c:showBubbleSize val="0"/>
            </c:dLbl>
            <c:dLbl>
              <c:idx val="5"/>
              <c:tx>
                <c:rich>
                  <a:bodyPr/>
                  <a:lstStyle/>
                  <a:p>
                    <a:pPr>
                      <a:defRPr sz="800">
                        <a:latin typeface="Nexa Book (Body)"/>
                      </a:defRPr>
                    </a:pPr>
                    <a:r>
                      <a:t>24</a:t>
                    </a:r>
                  </a:p>
                </c:rich>
              </c:tx>
              <c:showLegendKey val="0"/>
              <c:showVal val="1"/>
              <c:showCatName val="0"/>
              <c:showSerName val="0"/>
              <c:showPercent val="0"/>
              <c:showBubbleSize val="0"/>
            </c:dLbl>
            <c:dLbl>
              <c:idx val="6"/>
              <c:tx>
                <c:rich>
                  <a:bodyPr/>
                  <a:lstStyle/>
                  <a:p>
                    <a:pPr>
                      <a:defRPr sz="800">
                        <a:latin typeface="Nexa Book (Body)"/>
                      </a:defRPr>
                    </a:pPr>
                    <a:r>
                      <a:t>10</a:t>
                    </a:r>
                  </a:p>
                </c:rich>
              </c:tx>
              <c:showLegendKey val="0"/>
              <c:showVal val="1"/>
              <c:showCatName val="0"/>
              <c:showSerName val="0"/>
              <c:showPercent val="0"/>
              <c:showBubbleSize val="0"/>
            </c:dLbl>
            <c:dLbl>
              <c:idx val="7"/>
              <c:tx>
                <c:rich>
                  <a:bodyPr/>
                  <a:lstStyle/>
                  <a:p>
                    <a:pPr>
                      <a:defRPr sz="800">
                        <a:latin typeface="Nexa Book (Body)"/>
                      </a:defRPr>
                    </a:pPr>
                    <a:r>
                      <a:t>6</a:t>
                    </a:r>
                  </a:p>
                </c:rich>
              </c:tx>
              <c:showLegendKey val="0"/>
              <c:showVal val="1"/>
              <c:showCatName val="0"/>
              <c:showSerName val="0"/>
              <c:showPercent val="0"/>
              <c:showBubbleSize val="0"/>
            </c:dLbl>
            <c:dLbl>
              <c:idx val="8"/>
              <c:tx>
                <c:rich>
                  <a:bodyPr/>
                  <a:lstStyle/>
                  <a:p>
                    <a:pPr>
                      <a:defRPr sz="800">
                        <a:latin typeface="Nexa Book (Body)"/>
                      </a:defRPr>
                    </a:pPr>
                    <a:r>
                      <a:t>1</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0</c:f>
              <c:strCache>
                <c:ptCount val="9"/>
                <c:pt idx="0">
                  <c:v>Grand</c:v>
                </c:pt>
                <c:pt idx="1">
                  <c:v>Salade</c:v>
                </c:pt>
                <c:pt idx="2">
                  <c:v>Classique</c:v>
                </c:pt>
                <c:pt idx="3">
                  <c:v>Chevre</c:v>
                </c:pt>
                <c:pt idx="4">
                  <c:v>Frais A Tartiner</c:v>
                </c:pt>
                <c:pt idx="5">
                  <c:v>Enfant</c:v>
                </c:pt>
                <c:pt idx="6">
                  <c:v>Aperitif</c:v>
                </c:pt>
                <c:pt idx="7">
                  <c:v>Brebis</c:v>
                </c:pt>
                <c:pt idx="8">
                  <c:v>Alternative Vegetale</c:v>
                </c:pt>
              </c:strCache>
            </c:strRef>
          </c:cat>
          <c:val>
            <c:numRef>
              <c:f>Sheet1!$B$2:$B$10</c:f>
              <c:numCache>
                <c:formatCode>General</c:formatCode>
                <c:ptCount val="9"/>
                <c:pt idx="0">
                  <c:v>233.135746</c:v>
                </c:pt>
                <c:pt idx="1">
                  <c:v>79.861894</c:v>
                </c:pt>
                <c:pt idx="2">
                  <c:v>48.841392</c:v>
                </c:pt>
                <c:pt idx="3">
                  <c:v>32.969683</c:v>
                </c:pt>
                <c:pt idx="4">
                  <c:v>29.660078</c:v>
                </c:pt>
                <c:pt idx="5">
                  <c:v>24.183221</c:v>
                </c:pt>
                <c:pt idx="6">
                  <c:v>10.303675</c:v>
                </c:pt>
                <c:pt idx="7">
                  <c:v>6.374848</c:v>
                </c:pt>
                <c:pt idx="8">
                  <c:v>0.940955</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6</a:t>
                    </a:r>
                  </a:p>
                </c:rich>
              </c:tx>
              <c:showLegendKey val="0"/>
              <c:showVal val="1"/>
              <c:showCatName val="0"/>
              <c:showSerName val="0"/>
              <c:showPercent val="0"/>
              <c:showBubbleSize val="0"/>
            </c:dLbl>
            <c:dLbl>
              <c:idx val="1"/>
              <c:tx>
                <c:rich>
                  <a:bodyPr/>
                  <a:lstStyle/>
                  <a:p>
                    <a:pPr>
                      <a:defRPr sz="800">
                        <a:latin typeface="Nexa Book (Body)"/>
                      </a:defRPr>
                    </a:pPr>
                  </a:p>
                </c:rich>
              </c:tx>
              <c:showLegendKey val="0"/>
              <c:showVal val="1"/>
              <c:showCatName val="0"/>
              <c:showSerName val="0"/>
              <c:showPercent val="0"/>
              <c:showBubbleSize val="0"/>
            </c:dLbl>
            <c:dLbl>
              <c:idx val="2"/>
              <c:tx>
                <c:rich>
                  <a:bodyPr/>
                  <a:lstStyle/>
                  <a:p>
                    <a:pPr>
                      <a:defRPr sz="800">
                        <a:latin typeface="Nexa Book (Body)"/>
                      </a:defRPr>
                    </a:pPr>
                  </a:p>
                </c:rich>
              </c:tx>
              <c:showLegendKey val="0"/>
              <c:showVal val="1"/>
              <c:showCatName val="0"/>
              <c:showSerName val="0"/>
              <c:showPercent val="0"/>
              <c:showBubbleSize val="0"/>
            </c:dLbl>
            <c:dLbl>
              <c:idx val="3"/>
              <c:tx>
                <c:rich>
                  <a:bodyPr/>
                  <a:lstStyle/>
                  <a:p>
                    <a:pPr>
                      <a:defRPr sz="800">
                        <a:latin typeface="Nexa Book (Body)"/>
                      </a:defRPr>
                    </a:pPr>
                  </a:p>
                </c:rich>
              </c:tx>
              <c:showLegendKey val="0"/>
              <c:showVal val="1"/>
              <c:showCatName val="0"/>
              <c:showSerName val="0"/>
              <c:showPercent val="0"/>
              <c:showBubbleSize val="0"/>
            </c:dLbl>
            <c:dLbl>
              <c:idx val="4"/>
              <c:tx>
                <c:rich>
                  <a:bodyPr/>
                  <a:lstStyle/>
                  <a:p>
                    <a:pPr>
                      <a:defRPr sz="800">
                        <a:latin typeface="Nexa Book (Body)"/>
                      </a:defRPr>
                    </a:pPr>
                  </a:p>
                </c:rich>
              </c:tx>
              <c:showLegendKey val="0"/>
              <c:showVal val="1"/>
              <c:showCatName val="0"/>
              <c:showSerName val="0"/>
              <c:showPercent val="0"/>
              <c:showBubbleSize val="0"/>
            </c:dLbl>
            <c:dLbl>
              <c:idx val="5"/>
              <c:tx>
                <c:rich>
                  <a:bodyPr/>
                  <a:lstStyle/>
                  <a:p>
                    <a:pPr>
                      <a:defRPr sz="800">
                        <a:latin typeface="Nexa Book (Body)"/>
                      </a:defRPr>
                    </a:pPr>
                    <a:r>
                      <a:t>6</a:t>
                    </a:r>
                  </a:p>
                </c:rich>
              </c:tx>
              <c:showLegendKey val="0"/>
              <c:showVal val="1"/>
              <c:showCatName val="0"/>
              <c:showSerName val="0"/>
              <c:showPercent val="0"/>
              <c:showBubbleSize val="0"/>
            </c:dLbl>
            <c:dLbl>
              <c:idx val="6"/>
              <c:tx>
                <c:rich>
                  <a:bodyPr/>
                  <a:lstStyle/>
                  <a:p>
                    <a:pPr>
                      <a:defRPr sz="800">
                        <a:latin typeface="Nexa Book (Body)"/>
                      </a:defRPr>
                    </a:pPr>
                  </a:p>
                </c:rich>
              </c:tx>
              <c:showLegendKey val="0"/>
              <c:showVal val="1"/>
              <c:showCatName val="0"/>
              <c:showSerName val="0"/>
              <c:showPercent val="0"/>
              <c:showBubbleSize val="0"/>
            </c:dLbl>
            <c:dLbl>
              <c:idx val="7"/>
              <c:tx>
                <c:rich>
                  <a:bodyPr/>
                  <a:lstStyle/>
                  <a:p>
                    <a:pPr>
                      <a:defRPr sz="800">
                        <a:latin typeface="Nexa Book (Body)"/>
                      </a:defRPr>
                    </a:pPr>
                  </a:p>
                </c:rich>
              </c:tx>
              <c:showLegendKey val="0"/>
              <c:showVal val="1"/>
              <c:showCatName val="0"/>
              <c:showSerName val="0"/>
              <c:showPercent val="0"/>
              <c:showBubbleSize val="0"/>
            </c:dLbl>
            <c:dLbl>
              <c:idx val="8"/>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0</c:f>
              <c:strCache>
                <c:ptCount val="9"/>
                <c:pt idx="0">
                  <c:v>Grand</c:v>
                </c:pt>
                <c:pt idx="1">
                  <c:v>Salade</c:v>
                </c:pt>
                <c:pt idx="2">
                  <c:v>Classique</c:v>
                </c:pt>
                <c:pt idx="3">
                  <c:v>Chevre</c:v>
                </c:pt>
                <c:pt idx="4">
                  <c:v>Frais A Tartiner</c:v>
                </c:pt>
                <c:pt idx="5">
                  <c:v>Enfant</c:v>
                </c:pt>
                <c:pt idx="6">
                  <c:v>Aperitif</c:v>
                </c:pt>
                <c:pt idx="7">
                  <c:v>Brebis</c:v>
                </c:pt>
                <c:pt idx="8">
                  <c:v>Alternative Vegetale</c:v>
                </c:pt>
              </c:strCache>
            </c:strRef>
          </c:cat>
          <c:val>
            <c:numRef>
              <c:f>Sheet1!$B$2:$B$10</c:f>
              <c:numCache>
                <c:formatCode>General</c:formatCode>
                <c:ptCount val="9"/>
                <c:pt idx="0">
                  <c:v>5.831683</c:v>
                </c:pt>
                <c:pt idx="1">
                  <c:v>0.0</c:v>
                </c:pt>
                <c:pt idx="2">
                  <c:v>0.0</c:v>
                </c:pt>
                <c:pt idx="3">
                  <c:v>0.0</c:v>
                </c:pt>
                <c:pt idx="4">
                  <c:v>0.306866</c:v>
                </c:pt>
                <c:pt idx="5">
                  <c:v>5.524817</c:v>
                </c:pt>
                <c:pt idx="6">
                  <c:v>0.0</c:v>
                </c:pt>
                <c:pt idx="7">
                  <c:v>0.0</c:v>
                </c:pt>
                <c:pt idx="8">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233</a:t>
                    </a:r>
                  </a:p>
                </c:rich>
              </c:tx>
              <c:showLegendKey val="0"/>
              <c:showVal val="1"/>
              <c:showCatName val="0"/>
              <c:showSerName val="0"/>
              <c:showPercent val="0"/>
              <c:showBubbleSize val="0"/>
            </c:dLbl>
            <c:dLbl>
              <c:idx val="1"/>
              <c:tx>
                <c:rich>
                  <a:bodyPr/>
                  <a:lstStyle/>
                  <a:p>
                    <a:pPr>
                      <a:defRPr sz="800">
                        <a:latin typeface="Nexa Book (Body)"/>
                      </a:defRPr>
                    </a:pPr>
                    <a:r>
                      <a:t>80</a:t>
                    </a:r>
                  </a:p>
                </c:rich>
              </c:tx>
              <c:showLegendKey val="0"/>
              <c:showVal val="1"/>
              <c:showCatName val="0"/>
              <c:showSerName val="0"/>
              <c:showPercent val="0"/>
              <c:showBubbleSize val="0"/>
            </c:dLbl>
            <c:dLbl>
              <c:idx val="2"/>
              <c:tx>
                <c:rich>
                  <a:bodyPr/>
                  <a:lstStyle/>
                  <a:p>
                    <a:pPr>
                      <a:defRPr sz="800">
                        <a:latin typeface="Nexa Book (Body)"/>
                      </a:defRPr>
                    </a:pPr>
                    <a:r>
                      <a:t>49</a:t>
                    </a:r>
                  </a:p>
                </c:rich>
              </c:tx>
              <c:showLegendKey val="0"/>
              <c:showVal val="1"/>
              <c:showCatName val="0"/>
              <c:showSerName val="0"/>
              <c:showPercent val="0"/>
              <c:showBubbleSize val="0"/>
            </c:dLbl>
            <c:dLbl>
              <c:idx val="3"/>
              <c:tx>
                <c:rich>
                  <a:bodyPr/>
                  <a:lstStyle/>
                  <a:p>
                    <a:pPr>
                      <a:defRPr sz="800">
                        <a:latin typeface="Nexa Book (Body)"/>
                      </a:defRPr>
                    </a:pPr>
                    <a:r>
                      <a:t>33</a:t>
                    </a:r>
                  </a:p>
                </c:rich>
              </c:tx>
              <c:showLegendKey val="0"/>
              <c:showVal val="1"/>
              <c:showCatName val="0"/>
              <c:showSerName val="0"/>
              <c:showPercent val="0"/>
              <c:showBubbleSize val="0"/>
            </c:dLbl>
            <c:dLbl>
              <c:idx val="4"/>
              <c:tx>
                <c:rich>
                  <a:bodyPr/>
                  <a:lstStyle/>
                  <a:p>
                    <a:pPr>
                      <a:defRPr sz="800">
                        <a:latin typeface="Nexa Book (Body)"/>
                      </a:defRPr>
                    </a:pPr>
                    <a:r>
                      <a:t>30</a:t>
                    </a:r>
                  </a:p>
                </c:rich>
              </c:tx>
              <c:showLegendKey val="0"/>
              <c:showVal val="1"/>
              <c:showCatName val="0"/>
              <c:showSerName val="0"/>
              <c:showPercent val="0"/>
              <c:showBubbleSize val="0"/>
            </c:dLbl>
            <c:dLbl>
              <c:idx val="5"/>
              <c:tx>
                <c:rich>
                  <a:bodyPr/>
                  <a:lstStyle/>
                  <a:p>
                    <a:pPr>
                      <a:defRPr sz="800">
                        <a:latin typeface="Nexa Book (Body)"/>
                      </a:defRPr>
                    </a:pPr>
                    <a:r>
                      <a:t>24</a:t>
                    </a:r>
                  </a:p>
                </c:rich>
              </c:tx>
              <c:showLegendKey val="0"/>
              <c:showVal val="1"/>
              <c:showCatName val="0"/>
              <c:showSerName val="0"/>
              <c:showPercent val="0"/>
              <c:showBubbleSize val="0"/>
            </c:dLbl>
            <c:dLbl>
              <c:idx val="6"/>
              <c:tx>
                <c:rich>
                  <a:bodyPr/>
                  <a:lstStyle/>
                  <a:p>
                    <a:pPr>
                      <a:defRPr sz="800">
                        <a:latin typeface="Nexa Book (Body)"/>
                      </a:defRPr>
                    </a:pPr>
                    <a:r>
                      <a:t>10</a:t>
                    </a:r>
                  </a:p>
                </c:rich>
              </c:tx>
              <c:showLegendKey val="0"/>
              <c:showVal val="1"/>
              <c:showCatName val="0"/>
              <c:showSerName val="0"/>
              <c:showPercent val="0"/>
              <c:showBubbleSize val="0"/>
            </c:dLbl>
            <c:dLbl>
              <c:idx val="7"/>
              <c:tx>
                <c:rich>
                  <a:bodyPr/>
                  <a:lstStyle/>
                  <a:p>
                    <a:pPr>
                      <a:defRPr sz="800">
                        <a:latin typeface="Nexa Book (Body)"/>
                      </a:defRPr>
                    </a:pPr>
                    <a:r>
                      <a:t>6</a:t>
                    </a:r>
                  </a:p>
                </c:rich>
              </c:tx>
              <c:showLegendKey val="0"/>
              <c:showVal val="1"/>
              <c:showCatName val="0"/>
              <c:showSerName val="0"/>
              <c:showPercent val="0"/>
              <c:showBubbleSize val="0"/>
            </c:dLbl>
            <c:dLbl>
              <c:idx val="8"/>
              <c:tx>
                <c:rich>
                  <a:bodyPr/>
                  <a:lstStyle/>
                  <a:p>
                    <a:pPr>
                      <a:defRPr sz="800">
                        <a:latin typeface="Nexa Book (Body)"/>
                      </a:defRPr>
                    </a:pPr>
                    <a:r>
                      <a:t>1</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0</c:f>
              <c:strCache>
                <c:ptCount val="9"/>
                <c:pt idx="0">
                  <c:v>Grand</c:v>
                </c:pt>
                <c:pt idx="1">
                  <c:v>Salade</c:v>
                </c:pt>
                <c:pt idx="2">
                  <c:v>Classique</c:v>
                </c:pt>
                <c:pt idx="3">
                  <c:v>Chevre</c:v>
                </c:pt>
                <c:pt idx="4">
                  <c:v>Frais A Tartiner</c:v>
                </c:pt>
                <c:pt idx="5">
                  <c:v>Enfant</c:v>
                </c:pt>
                <c:pt idx="6">
                  <c:v>Aperitif</c:v>
                </c:pt>
                <c:pt idx="7">
                  <c:v>Brebis</c:v>
                </c:pt>
                <c:pt idx="8">
                  <c:v>Alternative Vegetale</c:v>
                </c:pt>
              </c:strCache>
            </c:strRef>
          </c:cat>
          <c:val>
            <c:numRef>
              <c:f>Sheet1!$B$2:$B$10</c:f>
              <c:numCache>
                <c:formatCode>General</c:formatCode>
                <c:ptCount val="9"/>
                <c:pt idx="0">
                  <c:v>233.135746</c:v>
                </c:pt>
                <c:pt idx="1">
                  <c:v>79.861894</c:v>
                </c:pt>
                <c:pt idx="2">
                  <c:v>48.841392</c:v>
                </c:pt>
                <c:pt idx="3">
                  <c:v>32.969683</c:v>
                </c:pt>
                <c:pt idx="4">
                  <c:v>29.660078</c:v>
                </c:pt>
                <c:pt idx="5">
                  <c:v>24.183221</c:v>
                </c:pt>
                <c:pt idx="6">
                  <c:v>10.303675</c:v>
                </c:pt>
                <c:pt idx="7">
                  <c:v>6.374848</c:v>
                </c:pt>
                <c:pt idx="8">
                  <c:v>0.940955</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7</a:t>
                    </a:r>
                  </a:p>
                </c:rich>
              </c:tx>
              <c:showLegendKey val="0"/>
              <c:showVal val="1"/>
              <c:showCatName val="0"/>
              <c:showSerName val="0"/>
              <c:showPercent val="0"/>
              <c:showBubbleSize val="0"/>
            </c:dLbl>
            <c:dLbl>
              <c:idx val="1"/>
              <c:tx>
                <c:rich>
                  <a:bodyPr/>
                  <a:lstStyle/>
                  <a:p>
                    <a:pPr>
                      <a:defRPr sz="800">
                        <a:latin typeface="Nexa Book (Body)"/>
                      </a:defRPr>
                    </a:pPr>
                  </a:p>
                </c:rich>
              </c:tx>
              <c:showLegendKey val="0"/>
              <c:showVal val="1"/>
              <c:showCatName val="0"/>
              <c:showSerName val="0"/>
              <c:showPercent val="0"/>
              <c:showBubbleSize val="0"/>
            </c:dLbl>
            <c:dLbl>
              <c:idx val="2"/>
              <c:tx>
                <c:rich>
                  <a:bodyPr/>
                  <a:lstStyle/>
                  <a:p>
                    <a:pPr>
                      <a:defRPr sz="800">
                        <a:latin typeface="Nexa Book (Body)"/>
                      </a:defRPr>
                    </a:pPr>
                  </a:p>
                </c:rich>
              </c:tx>
              <c:showLegendKey val="0"/>
              <c:showVal val="1"/>
              <c:showCatName val="0"/>
              <c:showSerName val="0"/>
              <c:showPercent val="0"/>
              <c:showBubbleSize val="0"/>
            </c:dLbl>
            <c:dLbl>
              <c:idx val="3"/>
              <c:tx>
                <c:rich>
                  <a:bodyPr/>
                  <a:lstStyle/>
                  <a:p>
                    <a:pPr>
                      <a:defRPr sz="800">
                        <a:latin typeface="Nexa Book (Body)"/>
                      </a:defRPr>
                    </a:pPr>
                  </a:p>
                </c:rich>
              </c:tx>
              <c:showLegendKey val="0"/>
              <c:showVal val="1"/>
              <c:showCatName val="0"/>
              <c:showSerName val="0"/>
              <c:showPercent val="0"/>
              <c:showBubbleSize val="0"/>
            </c:dLbl>
            <c:dLbl>
              <c:idx val="4"/>
              <c:tx>
                <c:rich>
                  <a:bodyPr/>
                  <a:lstStyle/>
                  <a:p>
                    <a:pPr>
                      <a:defRPr sz="800">
                        <a:latin typeface="Nexa Book (Body)"/>
                      </a:defRPr>
                    </a:pPr>
                  </a:p>
                </c:rich>
              </c:tx>
              <c:showLegendKey val="0"/>
              <c:showVal val="1"/>
              <c:showCatName val="0"/>
              <c:showSerName val="0"/>
              <c:showPercent val="0"/>
              <c:showBubbleSize val="0"/>
            </c:dLbl>
            <c:dLbl>
              <c:idx val="5"/>
              <c:tx>
                <c:rich>
                  <a:bodyPr/>
                  <a:lstStyle/>
                  <a:p>
                    <a:pPr>
                      <a:defRPr sz="800">
                        <a:latin typeface="Nexa Book (Body)"/>
                      </a:defRPr>
                    </a:pPr>
                    <a:r>
                      <a:t>7</a:t>
                    </a:r>
                  </a:p>
                </c:rich>
              </c:tx>
              <c:showLegendKey val="0"/>
              <c:showVal val="1"/>
              <c:showCatName val="0"/>
              <c:showSerName val="0"/>
              <c:showPercent val="0"/>
              <c:showBubbleSize val="0"/>
            </c:dLbl>
            <c:dLbl>
              <c:idx val="6"/>
              <c:tx>
                <c:rich>
                  <a:bodyPr/>
                  <a:lstStyle/>
                  <a:p>
                    <a:pPr>
                      <a:defRPr sz="800">
                        <a:latin typeface="Nexa Book (Body)"/>
                      </a:defRPr>
                    </a:pPr>
                  </a:p>
                </c:rich>
              </c:tx>
              <c:showLegendKey val="0"/>
              <c:showVal val="1"/>
              <c:showCatName val="0"/>
              <c:showSerName val="0"/>
              <c:showPercent val="0"/>
              <c:showBubbleSize val="0"/>
            </c:dLbl>
            <c:dLbl>
              <c:idx val="7"/>
              <c:tx>
                <c:rich>
                  <a:bodyPr/>
                  <a:lstStyle/>
                  <a:p>
                    <a:pPr>
                      <a:defRPr sz="800">
                        <a:latin typeface="Nexa Book (Body)"/>
                      </a:defRPr>
                    </a:pPr>
                  </a:p>
                </c:rich>
              </c:tx>
              <c:showLegendKey val="0"/>
              <c:showVal val="1"/>
              <c:showCatName val="0"/>
              <c:showSerName val="0"/>
              <c:showPercent val="0"/>
              <c:showBubbleSize val="0"/>
            </c:dLbl>
            <c:dLbl>
              <c:idx val="8"/>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0</c:f>
              <c:strCache>
                <c:ptCount val="9"/>
                <c:pt idx="0">
                  <c:v>Grand</c:v>
                </c:pt>
                <c:pt idx="1">
                  <c:v>Salade</c:v>
                </c:pt>
                <c:pt idx="2">
                  <c:v>Classique</c:v>
                </c:pt>
                <c:pt idx="3">
                  <c:v>Chevre</c:v>
                </c:pt>
                <c:pt idx="4">
                  <c:v>Frais A Tartiner</c:v>
                </c:pt>
                <c:pt idx="5">
                  <c:v>Enfant</c:v>
                </c:pt>
                <c:pt idx="6">
                  <c:v>Aperitif</c:v>
                </c:pt>
                <c:pt idx="7">
                  <c:v>Brebis</c:v>
                </c:pt>
                <c:pt idx="8">
                  <c:v>Alternative Vegetale</c:v>
                </c:pt>
              </c:strCache>
            </c:strRef>
          </c:cat>
          <c:val>
            <c:numRef>
              <c:f>Sheet1!$B$2:$B$10</c:f>
              <c:numCache>
                <c:formatCode>General</c:formatCode>
                <c:ptCount val="9"/>
                <c:pt idx="0">
                  <c:v>6.741136</c:v>
                </c:pt>
                <c:pt idx="1">
                  <c:v>0.0</c:v>
                </c:pt>
                <c:pt idx="2">
                  <c:v>0.0</c:v>
                </c:pt>
                <c:pt idx="3">
                  <c:v>0.0</c:v>
                </c:pt>
                <c:pt idx="4">
                  <c:v>2.6e-05</c:v>
                </c:pt>
                <c:pt idx="5">
                  <c:v>6.74111</c:v>
                </c:pt>
                <c:pt idx="6">
                  <c:v>0.0</c:v>
                </c:pt>
                <c:pt idx="7">
                  <c:v>0.0</c:v>
                </c:pt>
                <c:pt idx="8">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233</a:t>
                    </a:r>
                  </a:p>
                </c:rich>
              </c:tx>
              <c:showLegendKey val="0"/>
              <c:showVal val="1"/>
              <c:showCatName val="0"/>
              <c:showSerName val="0"/>
              <c:showPercent val="0"/>
              <c:showBubbleSize val="0"/>
            </c:dLbl>
            <c:dLbl>
              <c:idx val="1"/>
              <c:tx>
                <c:rich>
                  <a:bodyPr/>
                  <a:lstStyle/>
                  <a:p>
                    <a:pPr>
                      <a:defRPr sz="800">
                        <a:latin typeface="Nexa Book (Body)"/>
                      </a:defRPr>
                    </a:pPr>
                    <a:r>
                      <a:t>80</a:t>
                    </a:r>
                  </a:p>
                </c:rich>
              </c:tx>
              <c:showLegendKey val="0"/>
              <c:showVal val="1"/>
              <c:showCatName val="0"/>
              <c:showSerName val="0"/>
              <c:showPercent val="0"/>
              <c:showBubbleSize val="0"/>
            </c:dLbl>
            <c:dLbl>
              <c:idx val="2"/>
              <c:tx>
                <c:rich>
                  <a:bodyPr/>
                  <a:lstStyle/>
                  <a:p>
                    <a:pPr>
                      <a:defRPr sz="800">
                        <a:latin typeface="Nexa Book (Body)"/>
                      </a:defRPr>
                    </a:pPr>
                    <a:r>
                      <a:t>49</a:t>
                    </a:r>
                  </a:p>
                </c:rich>
              </c:tx>
              <c:showLegendKey val="0"/>
              <c:showVal val="1"/>
              <c:showCatName val="0"/>
              <c:showSerName val="0"/>
              <c:showPercent val="0"/>
              <c:showBubbleSize val="0"/>
            </c:dLbl>
            <c:dLbl>
              <c:idx val="3"/>
              <c:tx>
                <c:rich>
                  <a:bodyPr/>
                  <a:lstStyle/>
                  <a:p>
                    <a:pPr>
                      <a:defRPr sz="800">
                        <a:latin typeface="Nexa Book (Body)"/>
                      </a:defRPr>
                    </a:pPr>
                    <a:r>
                      <a:t>33</a:t>
                    </a:r>
                  </a:p>
                </c:rich>
              </c:tx>
              <c:showLegendKey val="0"/>
              <c:showVal val="1"/>
              <c:showCatName val="0"/>
              <c:showSerName val="0"/>
              <c:showPercent val="0"/>
              <c:showBubbleSize val="0"/>
            </c:dLbl>
            <c:dLbl>
              <c:idx val="4"/>
              <c:tx>
                <c:rich>
                  <a:bodyPr/>
                  <a:lstStyle/>
                  <a:p>
                    <a:pPr>
                      <a:defRPr sz="800">
                        <a:latin typeface="Nexa Book (Body)"/>
                      </a:defRPr>
                    </a:pPr>
                    <a:r>
                      <a:t>30</a:t>
                    </a:r>
                  </a:p>
                </c:rich>
              </c:tx>
              <c:showLegendKey val="0"/>
              <c:showVal val="1"/>
              <c:showCatName val="0"/>
              <c:showSerName val="0"/>
              <c:showPercent val="0"/>
              <c:showBubbleSize val="0"/>
            </c:dLbl>
            <c:dLbl>
              <c:idx val="5"/>
              <c:tx>
                <c:rich>
                  <a:bodyPr/>
                  <a:lstStyle/>
                  <a:p>
                    <a:pPr>
                      <a:defRPr sz="800">
                        <a:latin typeface="Nexa Book (Body)"/>
                      </a:defRPr>
                    </a:pPr>
                    <a:r>
                      <a:t>24</a:t>
                    </a:r>
                  </a:p>
                </c:rich>
              </c:tx>
              <c:showLegendKey val="0"/>
              <c:showVal val="1"/>
              <c:showCatName val="0"/>
              <c:showSerName val="0"/>
              <c:showPercent val="0"/>
              <c:showBubbleSize val="0"/>
            </c:dLbl>
            <c:dLbl>
              <c:idx val="6"/>
              <c:tx>
                <c:rich>
                  <a:bodyPr/>
                  <a:lstStyle/>
                  <a:p>
                    <a:pPr>
                      <a:defRPr sz="800">
                        <a:latin typeface="Nexa Book (Body)"/>
                      </a:defRPr>
                    </a:pPr>
                    <a:r>
                      <a:t>10</a:t>
                    </a:r>
                  </a:p>
                </c:rich>
              </c:tx>
              <c:showLegendKey val="0"/>
              <c:showVal val="1"/>
              <c:showCatName val="0"/>
              <c:showSerName val="0"/>
              <c:showPercent val="0"/>
              <c:showBubbleSize val="0"/>
            </c:dLbl>
            <c:dLbl>
              <c:idx val="7"/>
              <c:tx>
                <c:rich>
                  <a:bodyPr/>
                  <a:lstStyle/>
                  <a:p>
                    <a:pPr>
                      <a:defRPr sz="800">
                        <a:latin typeface="Nexa Book (Body)"/>
                      </a:defRPr>
                    </a:pPr>
                    <a:r>
                      <a:t>6</a:t>
                    </a:r>
                  </a:p>
                </c:rich>
              </c:tx>
              <c:showLegendKey val="0"/>
              <c:showVal val="1"/>
              <c:showCatName val="0"/>
              <c:showSerName val="0"/>
              <c:showPercent val="0"/>
              <c:showBubbleSize val="0"/>
            </c:dLbl>
            <c:dLbl>
              <c:idx val="8"/>
              <c:tx>
                <c:rich>
                  <a:bodyPr/>
                  <a:lstStyle/>
                  <a:p>
                    <a:pPr>
                      <a:defRPr sz="800">
                        <a:latin typeface="Nexa Book (Body)"/>
                      </a:defRPr>
                    </a:pPr>
                    <a:r>
                      <a:t>1</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0</c:f>
              <c:strCache>
                <c:ptCount val="9"/>
                <c:pt idx="0">
                  <c:v>Grand</c:v>
                </c:pt>
                <c:pt idx="1">
                  <c:v>Salade</c:v>
                </c:pt>
                <c:pt idx="2">
                  <c:v>Classique</c:v>
                </c:pt>
                <c:pt idx="3">
                  <c:v>Chevre</c:v>
                </c:pt>
                <c:pt idx="4">
                  <c:v>Frais A Tartiner</c:v>
                </c:pt>
                <c:pt idx="5">
                  <c:v>Enfant</c:v>
                </c:pt>
                <c:pt idx="6">
                  <c:v>Aperitif</c:v>
                </c:pt>
                <c:pt idx="7">
                  <c:v>Brebis</c:v>
                </c:pt>
                <c:pt idx="8">
                  <c:v>Alternative Vegetale</c:v>
                </c:pt>
              </c:strCache>
            </c:strRef>
          </c:cat>
          <c:val>
            <c:numRef>
              <c:f>Sheet1!$B$2:$B$10</c:f>
              <c:numCache>
                <c:formatCode>General</c:formatCode>
                <c:ptCount val="9"/>
                <c:pt idx="0">
                  <c:v>233.135746</c:v>
                </c:pt>
                <c:pt idx="1">
                  <c:v>79.861894</c:v>
                </c:pt>
                <c:pt idx="2">
                  <c:v>48.841392</c:v>
                </c:pt>
                <c:pt idx="3">
                  <c:v>32.969683</c:v>
                </c:pt>
                <c:pt idx="4">
                  <c:v>29.660078</c:v>
                </c:pt>
                <c:pt idx="5">
                  <c:v>24.183221</c:v>
                </c:pt>
                <c:pt idx="6">
                  <c:v>10.303675</c:v>
                </c:pt>
                <c:pt idx="7">
                  <c:v>6.374848</c:v>
                </c:pt>
                <c:pt idx="8">
                  <c:v>0.940955</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5</a:t>
                    </a:r>
                  </a:p>
                </c:rich>
              </c:tx>
              <c:showLegendKey val="0"/>
              <c:showVal val="1"/>
              <c:showCatName val="0"/>
              <c:showSerName val="0"/>
              <c:showPercent val="0"/>
              <c:showBubbleSize val="0"/>
            </c:dLbl>
            <c:dLbl>
              <c:idx val="1"/>
              <c:tx>
                <c:rich>
                  <a:bodyPr/>
                  <a:lstStyle/>
                  <a:p>
                    <a:pPr>
                      <a:defRPr sz="800">
                        <a:latin typeface="Nexa Book (Body)"/>
                      </a:defRPr>
                    </a:pPr>
                    <a:r>
                      <a:t>1</a:t>
                    </a:r>
                  </a:p>
                </c:rich>
              </c:tx>
              <c:showLegendKey val="0"/>
              <c:showVal val="1"/>
              <c:showCatName val="0"/>
              <c:showSerName val="0"/>
              <c:showPercent val="0"/>
              <c:showBubbleSize val="0"/>
            </c:dLbl>
            <c:dLbl>
              <c:idx val="2"/>
              <c:tx>
                <c:rich>
                  <a:bodyPr/>
                  <a:lstStyle/>
                  <a:p>
                    <a:pPr>
                      <a:defRPr sz="800">
                        <a:latin typeface="Nexa Book (Body)"/>
                      </a:defRPr>
                    </a:pPr>
                  </a:p>
                </c:rich>
              </c:tx>
              <c:showLegendKey val="0"/>
              <c:showVal val="1"/>
              <c:showCatName val="0"/>
              <c:showSerName val="0"/>
              <c:showPercent val="0"/>
              <c:showBubbleSize val="0"/>
            </c:dLbl>
            <c:dLbl>
              <c:idx val="3"/>
              <c:tx>
                <c:rich>
                  <a:bodyPr/>
                  <a:lstStyle/>
                  <a:p>
                    <a:pPr>
                      <a:defRPr sz="800">
                        <a:latin typeface="Nexa Book (Body)"/>
                      </a:defRPr>
                    </a:pPr>
                  </a:p>
                </c:rich>
              </c:tx>
              <c:showLegendKey val="0"/>
              <c:showVal val="1"/>
              <c:showCatName val="0"/>
              <c:showSerName val="0"/>
              <c:showPercent val="0"/>
              <c:showBubbleSize val="0"/>
            </c:dLbl>
            <c:dLbl>
              <c:idx val="4"/>
              <c:tx>
                <c:rich>
                  <a:bodyPr/>
                  <a:lstStyle/>
                  <a:p>
                    <a:pPr>
                      <a:defRPr sz="800">
                        <a:latin typeface="Nexa Book (Body)"/>
                      </a:defRPr>
                    </a:pPr>
                    <a:r>
                      <a:t>3</a:t>
                    </a:r>
                  </a:p>
                </c:rich>
              </c:tx>
              <c:showLegendKey val="0"/>
              <c:showVal val="1"/>
              <c:showCatName val="0"/>
              <c:showSerName val="0"/>
              <c:showPercent val="0"/>
              <c:showBubbleSize val="0"/>
            </c:dLbl>
            <c:dLbl>
              <c:idx val="5"/>
              <c:tx>
                <c:rich>
                  <a:bodyPr/>
                  <a:lstStyle/>
                  <a:p>
                    <a:pPr>
                      <a:defRPr sz="800">
                        <a:latin typeface="Nexa Book (Body)"/>
                      </a:defRPr>
                    </a:pPr>
                  </a:p>
                </c:rich>
              </c:tx>
              <c:showLegendKey val="0"/>
              <c:showVal val="1"/>
              <c:showCatName val="0"/>
              <c:showSerName val="0"/>
              <c:showPercent val="0"/>
              <c:showBubbleSize val="0"/>
            </c:dLbl>
            <c:dLbl>
              <c:idx val="6"/>
              <c:tx>
                <c:rich>
                  <a:bodyPr/>
                  <a:lstStyle/>
                  <a:p>
                    <a:pPr>
                      <a:defRPr sz="800">
                        <a:latin typeface="Nexa Book (Body)"/>
                      </a:defRPr>
                    </a:pPr>
                    <a:r>
                      <a:t>1</a:t>
                    </a:r>
                  </a:p>
                </c:rich>
              </c:tx>
              <c:showLegendKey val="0"/>
              <c:showVal val="1"/>
              <c:showCatName val="0"/>
              <c:showSerName val="0"/>
              <c:showPercent val="0"/>
              <c:showBubbleSize val="0"/>
            </c:dLbl>
            <c:dLbl>
              <c:idx val="7"/>
              <c:tx>
                <c:rich>
                  <a:bodyPr/>
                  <a:lstStyle/>
                  <a:p>
                    <a:pPr>
                      <a:defRPr sz="800">
                        <a:latin typeface="Nexa Book (Body)"/>
                      </a:defRPr>
                    </a:pPr>
                  </a:p>
                </c:rich>
              </c:tx>
              <c:showLegendKey val="0"/>
              <c:showVal val="1"/>
              <c:showCatName val="0"/>
              <c:showSerName val="0"/>
              <c:showPercent val="0"/>
              <c:showBubbleSize val="0"/>
            </c:dLbl>
            <c:dLbl>
              <c:idx val="8"/>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0</c:f>
              <c:strCache>
                <c:ptCount val="9"/>
                <c:pt idx="0">
                  <c:v>Grand</c:v>
                </c:pt>
                <c:pt idx="1">
                  <c:v>Salade</c:v>
                </c:pt>
                <c:pt idx="2">
                  <c:v>Classique</c:v>
                </c:pt>
                <c:pt idx="3">
                  <c:v>Chevre</c:v>
                </c:pt>
                <c:pt idx="4">
                  <c:v>Frais A Tartiner</c:v>
                </c:pt>
                <c:pt idx="5">
                  <c:v>Enfant</c:v>
                </c:pt>
                <c:pt idx="6">
                  <c:v>Aperitif</c:v>
                </c:pt>
                <c:pt idx="7">
                  <c:v>Brebis</c:v>
                </c:pt>
                <c:pt idx="8">
                  <c:v>Alternative Vegetale</c:v>
                </c:pt>
              </c:strCache>
            </c:strRef>
          </c:cat>
          <c:val>
            <c:numRef>
              <c:f>Sheet1!$B$2:$B$10</c:f>
              <c:numCache>
                <c:formatCode>General</c:formatCode>
                <c:ptCount val="9"/>
                <c:pt idx="0">
                  <c:v>5.396319</c:v>
                </c:pt>
                <c:pt idx="1">
                  <c:v>1.28934</c:v>
                </c:pt>
                <c:pt idx="2">
                  <c:v>0.0</c:v>
                </c:pt>
                <c:pt idx="3">
                  <c:v>0.0</c:v>
                </c:pt>
                <c:pt idx="4">
                  <c:v>3.0359</c:v>
                </c:pt>
                <c:pt idx="5">
                  <c:v>0.0</c:v>
                </c:pt>
                <c:pt idx="6">
                  <c:v>1.030688</c:v>
                </c:pt>
                <c:pt idx="7">
                  <c:v>0.0</c:v>
                </c:pt>
                <c:pt idx="8">
                  <c:v>0.040391</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233</a:t>
                    </a:r>
                  </a:p>
                </c:rich>
              </c:tx>
              <c:showLegendKey val="0"/>
              <c:showVal val="1"/>
              <c:showCatName val="0"/>
              <c:showSerName val="0"/>
              <c:showPercent val="0"/>
              <c:showBubbleSize val="0"/>
            </c:dLbl>
            <c:dLbl>
              <c:idx val="1"/>
              <c:tx>
                <c:rich>
                  <a:bodyPr/>
                  <a:lstStyle/>
                  <a:p>
                    <a:pPr>
                      <a:defRPr sz="800">
                        <a:latin typeface="Nexa Book (Body)"/>
                      </a:defRPr>
                    </a:pPr>
                    <a:r>
                      <a:t>80</a:t>
                    </a:r>
                  </a:p>
                </c:rich>
              </c:tx>
              <c:showLegendKey val="0"/>
              <c:showVal val="1"/>
              <c:showCatName val="0"/>
              <c:showSerName val="0"/>
              <c:showPercent val="0"/>
              <c:showBubbleSize val="0"/>
            </c:dLbl>
            <c:dLbl>
              <c:idx val="2"/>
              <c:tx>
                <c:rich>
                  <a:bodyPr/>
                  <a:lstStyle/>
                  <a:p>
                    <a:pPr>
                      <a:defRPr sz="800">
                        <a:latin typeface="Nexa Book (Body)"/>
                      </a:defRPr>
                    </a:pPr>
                    <a:r>
                      <a:t>49</a:t>
                    </a:r>
                  </a:p>
                </c:rich>
              </c:tx>
              <c:showLegendKey val="0"/>
              <c:showVal val="1"/>
              <c:showCatName val="0"/>
              <c:showSerName val="0"/>
              <c:showPercent val="0"/>
              <c:showBubbleSize val="0"/>
            </c:dLbl>
            <c:dLbl>
              <c:idx val="3"/>
              <c:tx>
                <c:rich>
                  <a:bodyPr/>
                  <a:lstStyle/>
                  <a:p>
                    <a:pPr>
                      <a:defRPr sz="800">
                        <a:latin typeface="Nexa Book (Body)"/>
                      </a:defRPr>
                    </a:pPr>
                    <a:r>
                      <a:t>33</a:t>
                    </a:r>
                  </a:p>
                </c:rich>
              </c:tx>
              <c:showLegendKey val="0"/>
              <c:showVal val="1"/>
              <c:showCatName val="0"/>
              <c:showSerName val="0"/>
              <c:showPercent val="0"/>
              <c:showBubbleSize val="0"/>
            </c:dLbl>
            <c:dLbl>
              <c:idx val="4"/>
              <c:tx>
                <c:rich>
                  <a:bodyPr/>
                  <a:lstStyle/>
                  <a:p>
                    <a:pPr>
                      <a:defRPr sz="800">
                        <a:latin typeface="Nexa Book (Body)"/>
                      </a:defRPr>
                    </a:pPr>
                    <a:r>
                      <a:t>30</a:t>
                    </a:r>
                  </a:p>
                </c:rich>
              </c:tx>
              <c:showLegendKey val="0"/>
              <c:showVal val="1"/>
              <c:showCatName val="0"/>
              <c:showSerName val="0"/>
              <c:showPercent val="0"/>
              <c:showBubbleSize val="0"/>
            </c:dLbl>
            <c:dLbl>
              <c:idx val="5"/>
              <c:tx>
                <c:rich>
                  <a:bodyPr/>
                  <a:lstStyle/>
                  <a:p>
                    <a:pPr>
                      <a:defRPr sz="800">
                        <a:latin typeface="Nexa Book (Body)"/>
                      </a:defRPr>
                    </a:pPr>
                    <a:r>
                      <a:t>24</a:t>
                    </a:r>
                  </a:p>
                </c:rich>
              </c:tx>
              <c:showLegendKey val="0"/>
              <c:showVal val="1"/>
              <c:showCatName val="0"/>
              <c:showSerName val="0"/>
              <c:showPercent val="0"/>
              <c:showBubbleSize val="0"/>
            </c:dLbl>
            <c:dLbl>
              <c:idx val="6"/>
              <c:tx>
                <c:rich>
                  <a:bodyPr/>
                  <a:lstStyle/>
                  <a:p>
                    <a:pPr>
                      <a:defRPr sz="800">
                        <a:latin typeface="Nexa Book (Body)"/>
                      </a:defRPr>
                    </a:pPr>
                    <a:r>
                      <a:t>10</a:t>
                    </a:r>
                  </a:p>
                </c:rich>
              </c:tx>
              <c:showLegendKey val="0"/>
              <c:showVal val="1"/>
              <c:showCatName val="0"/>
              <c:showSerName val="0"/>
              <c:showPercent val="0"/>
              <c:showBubbleSize val="0"/>
            </c:dLbl>
            <c:dLbl>
              <c:idx val="7"/>
              <c:tx>
                <c:rich>
                  <a:bodyPr/>
                  <a:lstStyle/>
                  <a:p>
                    <a:pPr>
                      <a:defRPr sz="800">
                        <a:latin typeface="Nexa Book (Body)"/>
                      </a:defRPr>
                    </a:pPr>
                    <a:r>
                      <a:t>6</a:t>
                    </a:r>
                  </a:p>
                </c:rich>
              </c:tx>
              <c:showLegendKey val="0"/>
              <c:showVal val="1"/>
              <c:showCatName val="0"/>
              <c:showSerName val="0"/>
              <c:showPercent val="0"/>
              <c:showBubbleSize val="0"/>
            </c:dLbl>
            <c:dLbl>
              <c:idx val="8"/>
              <c:tx>
                <c:rich>
                  <a:bodyPr/>
                  <a:lstStyle/>
                  <a:p>
                    <a:pPr>
                      <a:defRPr sz="800">
                        <a:latin typeface="Nexa Book (Body)"/>
                      </a:defRPr>
                    </a:pPr>
                    <a:r>
                      <a:t>1</a:t>
                    </a: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0</c:f>
              <c:strCache>
                <c:ptCount val="9"/>
                <c:pt idx="0">
                  <c:v>Grand</c:v>
                </c:pt>
                <c:pt idx="1">
                  <c:v>Salade</c:v>
                </c:pt>
                <c:pt idx="2">
                  <c:v>Classique</c:v>
                </c:pt>
                <c:pt idx="3">
                  <c:v>Chevre</c:v>
                </c:pt>
                <c:pt idx="4">
                  <c:v>Frais A Tartiner</c:v>
                </c:pt>
                <c:pt idx="5">
                  <c:v>Enfant</c:v>
                </c:pt>
                <c:pt idx="6">
                  <c:v>Aperitif</c:v>
                </c:pt>
                <c:pt idx="7">
                  <c:v>Brebis</c:v>
                </c:pt>
                <c:pt idx="8">
                  <c:v>Alternative Vegetale</c:v>
                </c:pt>
              </c:strCache>
            </c:strRef>
          </c:cat>
          <c:val>
            <c:numRef>
              <c:f>Sheet1!$B$2:$B$10</c:f>
              <c:numCache>
                <c:formatCode>General</c:formatCode>
                <c:ptCount val="9"/>
                <c:pt idx="0">
                  <c:v>233.135746</c:v>
                </c:pt>
                <c:pt idx="1">
                  <c:v>79.861894</c:v>
                </c:pt>
                <c:pt idx="2">
                  <c:v>48.841392</c:v>
                </c:pt>
                <c:pt idx="3">
                  <c:v>32.969683</c:v>
                </c:pt>
                <c:pt idx="4">
                  <c:v>29.660078</c:v>
                </c:pt>
                <c:pt idx="5">
                  <c:v>24.183221</c:v>
                </c:pt>
                <c:pt idx="6">
                  <c:v>10.303675</c:v>
                </c:pt>
                <c:pt idx="7">
                  <c:v>6.374848</c:v>
                </c:pt>
                <c:pt idx="8">
                  <c:v>0.940955</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31</a:t>
                    </a:r>
                  </a:p>
                </c:rich>
              </c:tx>
              <c:showLegendKey val="0"/>
              <c:showVal val="1"/>
              <c:showCatName val="0"/>
              <c:showSerName val="0"/>
              <c:showPercent val="0"/>
              <c:showBubbleSize val="0"/>
            </c:dLbl>
            <c:dLbl>
              <c:idx val="1"/>
              <c:tx>
                <c:rich>
                  <a:bodyPr/>
                  <a:lstStyle/>
                  <a:p>
                    <a:pPr>
                      <a:defRPr sz="800">
                        <a:latin typeface="Nexa Book (Body)"/>
                      </a:defRPr>
                    </a:pPr>
                    <a:r>
                      <a:t>1</a:t>
                    </a:r>
                  </a:p>
                </c:rich>
              </c:tx>
              <c:showLegendKey val="0"/>
              <c:showVal val="1"/>
              <c:showCatName val="0"/>
              <c:showSerName val="0"/>
              <c:showPercent val="0"/>
              <c:showBubbleSize val="0"/>
            </c:dLbl>
            <c:dLbl>
              <c:idx val="2"/>
              <c:tx>
                <c:rich>
                  <a:bodyPr/>
                  <a:lstStyle/>
                  <a:p>
                    <a:pPr>
                      <a:defRPr sz="800">
                        <a:latin typeface="Nexa Book (Body)"/>
                      </a:defRPr>
                    </a:pPr>
                  </a:p>
                </c:rich>
              </c:tx>
              <c:showLegendKey val="0"/>
              <c:showVal val="1"/>
              <c:showCatName val="0"/>
              <c:showSerName val="0"/>
              <c:showPercent val="0"/>
              <c:showBubbleSize val="0"/>
            </c:dLbl>
            <c:dLbl>
              <c:idx val="3"/>
              <c:tx>
                <c:rich>
                  <a:bodyPr/>
                  <a:lstStyle/>
                  <a:p>
                    <a:pPr>
                      <a:defRPr sz="800">
                        <a:latin typeface="Nexa Book (Body)"/>
                      </a:defRPr>
                    </a:pPr>
                  </a:p>
                </c:rich>
              </c:tx>
              <c:showLegendKey val="0"/>
              <c:showVal val="1"/>
              <c:showCatName val="0"/>
              <c:showSerName val="0"/>
              <c:showPercent val="0"/>
              <c:showBubbleSize val="0"/>
            </c:dLbl>
            <c:dLbl>
              <c:idx val="4"/>
              <c:tx>
                <c:rich>
                  <a:bodyPr/>
                  <a:lstStyle/>
                  <a:p>
                    <a:pPr>
                      <a:defRPr sz="800">
                        <a:latin typeface="Nexa Book (Body)"/>
                      </a:defRPr>
                    </a:pPr>
                    <a:r>
                      <a:t>3</a:t>
                    </a:r>
                  </a:p>
                </c:rich>
              </c:tx>
              <c:showLegendKey val="0"/>
              <c:showVal val="1"/>
              <c:showCatName val="0"/>
              <c:showSerName val="0"/>
              <c:showPercent val="0"/>
              <c:showBubbleSize val="0"/>
            </c:dLbl>
            <c:dLbl>
              <c:idx val="5"/>
              <c:tx>
                <c:rich>
                  <a:bodyPr/>
                  <a:lstStyle/>
                  <a:p>
                    <a:pPr>
                      <a:defRPr sz="800">
                        <a:latin typeface="Nexa Book (Body)"/>
                      </a:defRPr>
                    </a:pPr>
                    <a:r>
                      <a:t>19</a:t>
                    </a:r>
                  </a:p>
                </c:rich>
              </c:tx>
              <c:showLegendKey val="0"/>
              <c:showVal val="1"/>
              <c:showCatName val="0"/>
              <c:showSerName val="0"/>
              <c:showPercent val="0"/>
              <c:showBubbleSize val="0"/>
            </c:dLbl>
            <c:dLbl>
              <c:idx val="6"/>
              <c:tx>
                <c:rich>
                  <a:bodyPr/>
                  <a:lstStyle/>
                  <a:p>
                    <a:pPr>
                      <a:defRPr sz="800">
                        <a:latin typeface="Nexa Book (Body)"/>
                      </a:defRPr>
                    </a:pPr>
                    <a:r>
                      <a:t>7</a:t>
                    </a:r>
                  </a:p>
                </c:rich>
              </c:tx>
              <c:showLegendKey val="0"/>
              <c:showVal val="1"/>
              <c:showCatName val="0"/>
              <c:showSerName val="0"/>
              <c:showPercent val="0"/>
              <c:showBubbleSize val="0"/>
            </c:dLbl>
            <c:dLbl>
              <c:idx val="7"/>
              <c:tx>
                <c:rich>
                  <a:bodyPr/>
                  <a:lstStyle/>
                  <a:p>
                    <a:pPr>
                      <a:defRPr sz="800">
                        <a:latin typeface="Nexa Book (Body)"/>
                      </a:defRPr>
                    </a:pPr>
                  </a:p>
                </c:rich>
              </c:tx>
              <c:showLegendKey val="0"/>
              <c:showVal val="1"/>
              <c:showCatName val="0"/>
              <c:showSerName val="0"/>
              <c:showPercent val="0"/>
              <c:showBubbleSize val="0"/>
            </c:dLbl>
            <c:dLbl>
              <c:idx val="8"/>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0</c:f>
              <c:strCache>
                <c:ptCount val="9"/>
                <c:pt idx="0">
                  <c:v>Grand</c:v>
                </c:pt>
                <c:pt idx="1">
                  <c:v>Salade</c:v>
                </c:pt>
                <c:pt idx="2">
                  <c:v>Classique</c:v>
                </c:pt>
                <c:pt idx="3">
                  <c:v>Chevre</c:v>
                </c:pt>
                <c:pt idx="4">
                  <c:v>Frais A Tartiner</c:v>
                </c:pt>
                <c:pt idx="5">
                  <c:v>Enfant</c:v>
                </c:pt>
                <c:pt idx="6">
                  <c:v>Aperitif</c:v>
                </c:pt>
                <c:pt idx="7">
                  <c:v>Brebis</c:v>
                </c:pt>
                <c:pt idx="8">
                  <c:v>Alternative Vegetale</c:v>
                </c:pt>
              </c:strCache>
            </c:strRef>
          </c:cat>
          <c:val>
            <c:numRef>
              <c:f>Sheet1!$B$2:$B$10</c:f>
              <c:numCache>
                <c:formatCode>General</c:formatCode>
                <c:ptCount val="9"/>
                <c:pt idx="0">
                  <c:v>30.956795</c:v>
                </c:pt>
                <c:pt idx="1">
                  <c:v>1.28934</c:v>
                </c:pt>
                <c:pt idx="2">
                  <c:v>0.0</c:v>
                </c:pt>
                <c:pt idx="3">
                  <c:v>0.0</c:v>
                </c:pt>
                <c:pt idx="4">
                  <c:v>3.342792</c:v>
                </c:pt>
                <c:pt idx="5">
                  <c:v>18.935384</c:v>
                </c:pt>
                <c:pt idx="6">
                  <c:v>7.143856</c:v>
                </c:pt>
                <c:pt idx="7">
                  <c:v>0.000241</c:v>
                </c:pt>
                <c:pt idx="8">
                  <c:v>0.245182</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184</a:t>
                    </a:r>
                  </a:p>
                </c:rich>
              </c:tx>
              <c:showLegendKey val="0"/>
              <c:showVal val="1"/>
              <c:showCatName val="0"/>
              <c:showSerName val="0"/>
              <c:showPercent val="0"/>
              <c:showBubbleSize val="0"/>
            </c:dLbl>
            <c:dLbl>
              <c:idx val="1"/>
              <c:tx>
                <c:rich>
                  <a:bodyPr/>
                  <a:lstStyle/>
                  <a:p>
                    <a:pPr>
                      <a:defRPr sz="800">
                        <a:latin typeface="Nexa Book (Body)"/>
                      </a:defRPr>
                    </a:pPr>
                    <a:r>
                      <a:t>56</a:t>
                    </a:r>
                  </a:p>
                </c:rich>
              </c:tx>
              <c:showLegendKey val="0"/>
              <c:showVal val="1"/>
              <c:showCatName val="0"/>
              <c:showSerName val="0"/>
              <c:showPercent val="0"/>
              <c:showBubbleSize val="0"/>
            </c:dLbl>
            <c:dLbl>
              <c:idx val="2"/>
              <c:tx>
                <c:rich>
                  <a:bodyPr/>
                  <a:lstStyle/>
                  <a:p>
                    <a:pPr>
                      <a:defRPr sz="800">
                        <a:latin typeface="Nexa Book (Body)"/>
                      </a:defRPr>
                    </a:pPr>
                    <a:r>
                      <a:t>41</a:t>
                    </a:r>
                  </a:p>
                </c:rich>
              </c:tx>
              <c:showLegendKey val="0"/>
              <c:showVal val="1"/>
              <c:showCatName val="0"/>
              <c:showSerName val="0"/>
              <c:showPercent val="0"/>
              <c:showBubbleSize val="0"/>
            </c:dLbl>
            <c:dLbl>
              <c:idx val="3"/>
              <c:tx>
                <c:rich>
                  <a:bodyPr/>
                  <a:lstStyle/>
                  <a:p>
                    <a:pPr>
                      <a:defRPr sz="800">
                        <a:latin typeface="Nexa Book (Body)"/>
                      </a:defRPr>
                    </a:pPr>
                    <a:r>
                      <a:t>26</a:t>
                    </a:r>
                  </a:p>
                </c:rich>
              </c:tx>
              <c:showLegendKey val="0"/>
              <c:showVal val="1"/>
              <c:showCatName val="0"/>
              <c:showSerName val="0"/>
              <c:showPercent val="0"/>
              <c:showBubbleSize val="0"/>
            </c:dLbl>
            <c:dLbl>
              <c:idx val="4"/>
              <c:tx>
                <c:rich>
                  <a:bodyPr/>
                  <a:lstStyle/>
                  <a:p>
                    <a:pPr>
                      <a:defRPr sz="800">
                        <a:latin typeface="Nexa Book (Body)"/>
                      </a:defRPr>
                    </a:pPr>
                    <a:r>
                      <a:t>25</a:t>
                    </a:r>
                  </a:p>
                </c:rich>
              </c:tx>
              <c:showLegendKey val="0"/>
              <c:showVal val="1"/>
              <c:showCatName val="0"/>
              <c:showSerName val="0"/>
              <c:showPercent val="0"/>
              <c:showBubbleSize val="0"/>
            </c:dLbl>
            <c:dLbl>
              <c:idx val="5"/>
              <c:tx>
                <c:rich>
                  <a:bodyPr/>
                  <a:lstStyle/>
                  <a:p>
                    <a:pPr>
                      <a:defRPr sz="800">
                        <a:latin typeface="Nexa Book (Body)"/>
                      </a:defRPr>
                    </a:pPr>
                    <a:r>
                      <a:t>20</a:t>
                    </a:r>
                  </a:p>
                </c:rich>
              </c:tx>
              <c:showLegendKey val="0"/>
              <c:showVal val="1"/>
              <c:showCatName val="0"/>
              <c:showSerName val="0"/>
              <c:showPercent val="0"/>
              <c:showBubbleSize val="0"/>
            </c:dLbl>
            <c:dLbl>
              <c:idx val="6"/>
              <c:tx>
                <c:rich>
                  <a:bodyPr/>
                  <a:lstStyle/>
                  <a:p>
                    <a:pPr>
                      <a:defRPr sz="800">
                        <a:latin typeface="Nexa Book (Body)"/>
                      </a:defRPr>
                    </a:pPr>
                    <a:r>
                      <a:t>10</a:t>
                    </a:r>
                  </a:p>
                </c:rich>
              </c:tx>
              <c:showLegendKey val="0"/>
              <c:showVal val="1"/>
              <c:showCatName val="0"/>
              <c:showSerName val="0"/>
              <c:showPercent val="0"/>
              <c:showBubbleSize val="0"/>
            </c:dLbl>
            <c:dLbl>
              <c:idx val="7"/>
              <c:tx>
                <c:rich>
                  <a:bodyPr/>
                  <a:lstStyle/>
                  <a:p>
                    <a:pPr>
                      <a:defRPr sz="800">
                        <a:latin typeface="Nexa Book (Body)"/>
                      </a:defRPr>
                    </a:pPr>
                    <a:r>
                      <a:t>5</a:t>
                    </a:r>
                  </a:p>
                </c:rich>
              </c:tx>
              <c:showLegendKey val="0"/>
              <c:showVal val="1"/>
              <c:showCatName val="0"/>
              <c:showSerName val="0"/>
              <c:showPercent val="0"/>
              <c:showBubbleSize val="0"/>
            </c:dLbl>
            <c:dLbl>
              <c:idx val="8"/>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0</c:f>
              <c:strCache>
                <c:ptCount val="9"/>
                <c:pt idx="0">
                  <c:v>Grand</c:v>
                </c:pt>
                <c:pt idx="1">
                  <c:v>Salade</c:v>
                </c:pt>
                <c:pt idx="2">
                  <c:v>Classique</c:v>
                </c:pt>
                <c:pt idx="3">
                  <c:v>Frais A Tartiner</c:v>
                </c:pt>
                <c:pt idx="4">
                  <c:v>Chevre</c:v>
                </c:pt>
                <c:pt idx="5">
                  <c:v>Enfant</c:v>
                </c:pt>
                <c:pt idx="6">
                  <c:v>Aperitif</c:v>
                </c:pt>
                <c:pt idx="7">
                  <c:v>Brebis</c:v>
                </c:pt>
                <c:pt idx="8">
                  <c:v>Alternative Vegetale</c:v>
                </c:pt>
              </c:strCache>
            </c:strRef>
          </c:cat>
          <c:val>
            <c:numRef>
              <c:f>Sheet1!$B$2:$B$10</c:f>
              <c:numCache>
                <c:formatCode>General</c:formatCode>
                <c:ptCount val="9"/>
                <c:pt idx="0">
                  <c:v>184.201616</c:v>
                </c:pt>
                <c:pt idx="1">
                  <c:v>56.151853</c:v>
                </c:pt>
                <c:pt idx="2">
                  <c:v>41.46819</c:v>
                </c:pt>
                <c:pt idx="3">
                  <c:v>25.737106</c:v>
                </c:pt>
                <c:pt idx="4">
                  <c:v>25.477487</c:v>
                </c:pt>
                <c:pt idx="5">
                  <c:v>19.52622</c:v>
                </c:pt>
                <c:pt idx="6">
                  <c:v>10.017999</c:v>
                </c:pt>
                <c:pt idx="7">
                  <c:v>5.37055</c:v>
                </c:pt>
                <c:pt idx="8">
                  <c:v>0.452211</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510622705597641</c:v>
                </c:pt>
                <c:pt idx="1">
                  <c:v>0.0419239452561048</c:v>
                </c:pt>
                <c:pt idx="2">
                  <c:v>0.03971133301253936</c:v>
                </c:pt>
                <c:pt idx="3">
                  <c:v>0.03906135205521252</c:v>
                </c:pt>
                <c:pt idx="4">
                  <c:v>0.0387331235018891</c:v>
                </c:pt>
                <c:pt idx="5">
                  <c:v>0.03753342247375059</c:v>
                </c:pt>
                <c:pt idx="6">
                  <c:v>0.03038037809499322</c:v>
                </c:pt>
                <c:pt idx="7">
                  <c:v>0.02628173270353014</c:v>
                </c:pt>
                <c:pt idx="8">
                  <c:v>0.019492623580296922</c:v>
                </c:pt>
                <c:pt idx="9">
                  <c:v>0.375819818761919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5</a:t>
                    </a:r>
                  </a:p>
                </c:rich>
              </c:tx>
              <c:showLegendKey val="0"/>
              <c:showVal val="1"/>
              <c:showCatName val="0"/>
              <c:showSerName val="0"/>
              <c:showPercent val="0"/>
              <c:showBubbleSize val="0"/>
            </c:dLbl>
            <c:dLbl>
              <c:idx val="1"/>
              <c:tx>
                <c:rich>
                  <a:bodyPr/>
                  <a:lstStyle/>
                  <a:p>
                    <a:pPr>
                      <a:defRPr sz="800">
                        <a:latin typeface="Nexa Book (Body)"/>
                      </a:defRPr>
                    </a:pPr>
                  </a:p>
                </c:rich>
              </c:tx>
              <c:showLegendKey val="0"/>
              <c:showVal val="1"/>
              <c:showCatName val="0"/>
              <c:showSerName val="0"/>
              <c:showPercent val="0"/>
              <c:showBubbleSize val="0"/>
            </c:dLbl>
            <c:dLbl>
              <c:idx val="2"/>
              <c:tx>
                <c:rich>
                  <a:bodyPr/>
                  <a:lstStyle/>
                  <a:p>
                    <a:pPr>
                      <a:defRPr sz="800">
                        <a:latin typeface="Nexa Book (Body)"/>
                      </a:defRPr>
                    </a:pPr>
                  </a:p>
                </c:rich>
              </c:tx>
              <c:showLegendKey val="0"/>
              <c:showVal val="1"/>
              <c:showCatName val="0"/>
              <c:showSerName val="0"/>
              <c:showPercent val="0"/>
              <c:showBubbleSize val="0"/>
            </c:dLbl>
            <c:dLbl>
              <c:idx val="3"/>
              <c:tx>
                <c:rich>
                  <a:bodyPr/>
                  <a:lstStyle/>
                  <a:p>
                    <a:pPr>
                      <a:defRPr sz="800">
                        <a:latin typeface="Nexa Book (Body)"/>
                      </a:defRPr>
                    </a:pPr>
                  </a:p>
                </c:rich>
              </c:tx>
              <c:showLegendKey val="0"/>
              <c:showVal val="1"/>
              <c:showCatName val="0"/>
              <c:showSerName val="0"/>
              <c:showPercent val="0"/>
              <c:showBubbleSize val="0"/>
            </c:dLbl>
            <c:dLbl>
              <c:idx val="4"/>
              <c:tx>
                <c:rich>
                  <a:bodyPr/>
                  <a:lstStyle/>
                  <a:p>
                    <a:pPr>
                      <a:defRPr sz="800">
                        <a:latin typeface="Nexa Book (Body)"/>
                      </a:defRPr>
                    </a:pPr>
                  </a:p>
                </c:rich>
              </c:tx>
              <c:showLegendKey val="0"/>
              <c:showVal val="1"/>
              <c:showCatName val="0"/>
              <c:showSerName val="0"/>
              <c:showPercent val="0"/>
              <c:showBubbleSize val="0"/>
            </c:dLbl>
            <c:dLbl>
              <c:idx val="5"/>
              <c:tx>
                <c:rich>
                  <a:bodyPr/>
                  <a:lstStyle/>
                  <a:p>
                    <a:pPr>
                      <a:defRPr sz="800">
                        <a:latin typeface="Nexa Book (Body)"/>
                      </a:defRPr>
                    </a:pPr>
                    <a:r>
                      <a:t>5</a:t>
                    </a:r>
                  </a:p>
                </c:rich>
              </c:tx>
              <c:showLegendKey val="0"/>
              <c:showVal val="1"/>
              <c:showCatName val="0"/>
              <c:showSerName val="0"/>
              <c:showPercent val="0"/>
              <c:showBubbleSize val="0"/>
            </c:dLbl>
            <c:dLbl>
              <c:idx val="6"/>
              <c:tx>
                <c:rich>
                  <a:bodyPr/>
                  <a:lstStyle/>
                  <a:p>
                    <a:pPr>
                      <a:defRPr sz="800">
                        <a:latin typeface="Nexa Book (Body)"/>
                      </a:defRPr>
                    </a:pPr>
                  </a:p>
                </c:rich>
              </c:tx>
              <c:showLegendKey val="0"/>
              <c:showVal val="1"/>
              <c:showCatName val="0"/>
              <c:showSerName val="0"/>
              <c:showPercent val="0"/>
              <c:showBubbleSize val="0"/>
            </c:dLbl>
            <c:dLbl>
              <c:idx val="7"/>
              <c:tx>
                <c:rich>
                  <a:bodyPr/>
                  <a:lstStyle/>
                  <a:p>
                    <a:pPr>
                      <a:defRPr sz="800">
                        <a:latin typeface="Nexa Book (Body)"/>
                      </a:defRPr>
                    </a:pPr>
                  </a:p>
                </c:rich>
              </c:tx>
              <c:showLegendKey val="0"/>
              <c:showVal val="1"/>
              <c:showCatName val="0"/>
              <c:showSerName val="0"/>
              <c:showPercent val="0"/>
              <c:showBubbleSize val="0"/>
            </c:dLbl>
            <c:dLbl>
              <c:idx val="8"/>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0</c:f>
              <c:strCache>
                <c:ptCount val="9"/>
                <c:pt idx="0">
                  <c:v>Grand</c:v>
                </c:pt>
                <c:pt idx="1">
                  <c:v>Salade</c:v>
                </c:pt>
                <c:pt idx="2">
                  <c:v>Classique</c:v>
                </c:pt>
                <c:pt idx="3">
                  <c:v>Frais A Tartiner</c:v>
                </c:pt>
                <c:pt idx="4">
                  <c:v>Chevre</c:v>
                </c:pt>
                <c:pt idx="5">
                  <c:v>Enfant</c:v>
                </c:pt>
                <c:pt idx="6">
                  <c:v>Aperitif</c:v>
                </c:pt>
                <c:pt idx="7">
                  <c:v>Brebis</c:v>
                </c:pt>
                <c:pt idx="8">
                  <c:v>Alternative Vegetale</c:v>
                </c:pt>
              </c:strCache>
            </c:strRef>
          </c:cat>
          <c:val>
            <c:numRef>
              <c:f>Sheet1!$B$2:$B$10</c:f>
              <c:numCache>
                <c:formatCode>General</c:formatCode>
                <c:ptCount val="9"/>
                <c:pt idx="0">
                  <c:v>4.747021</c:v>
                </c:pt>
                <c:pt idx="1">
                  <c:v>0.0</c:v>
                </c:pt>
                <c:pt idx="2">
                  <c:v>0.0</c:v>
                </c:pt>
                <c:pt idx="3">
                  <c:v>0.174106</c:v>
                </c:pt>
                <c:pt idx="4">
                  <c:v>0.0</c:v>
                </c:pt>
                <c:pt idx="5">
                  <c:v>4.572915</c:v>
                </c:pt>
                <c:pt idx="6">
                  <c:v>0.0</c:v>
                </c:pt>
                <c:pt idx="7">
                  <c:v>0.0</c:v>
                </c:pt>
                <c:pt idx="8">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184</a:t>
                    </a:r>
                  </a:p>
                </c:rich>
              </c:tx>
              <c:showLegendKey val="0"/>
              <c:showVal val="1"/>
              <c:showCatName val="0"/>
              <c:showSerName val="0"/>
              <c:showPercent val="0"/>
              <c:showBubbleSize val="0"/>
            </c:dLbl>
            <c:dLbl>
              <c:idx val="1"/>
              <c:tx>
                <c:rich>
                  <a:bodyPr/>
                  <a:lstStyle/>
                  <a:p>
                    <a:pPr>
                      <a:defRPr sz="800">
                        <a:latin typeface="Nexa Book (Body)"/>
                      </a:defRPr>
                    </a:pPr>
                    <a:r>
                      <a:t>56</a:t>
                    </a:r>
                  </a:p>
                </c:rich>
              </c:tx>
              <c:showLegendKey val="0"/>
              <c:showVal val="1"/>
              <c:showCatName val="0"/>
              <c:showSerName val="0"/>
              <c:showPercent val="0"/>
              <c:showBubbleSize val="0"/>
            </c:dLbl>
            <c:dLbl>
              <c:idx val="2"/>
              <c:tx>
                <c:rich>
                  <a:bodyPr/>
                  <a:lstStyle/>
                  <a:p>
                    <a:pPr>
                      <a:defRPr sz="800">
                        <a:latin typeface="Nexa Book (Body)"/>
                      </a:defRPr>
                    </a:pPr>
                    <a:r>
                      <a:t>41</a:t>
                    </a:r>
                  </a:p>
                </c:rich>
              </c:tx>
              <c:showLegendKey val="0"/>
              <c:showVal val="1"/>
              <c:showCatName val="0"/>
              <c:showSerName val="0"/>
              <c:showPercent val="0"/>
              <c:showBubbleSize val="0"/>
            </c:dLbl>
            <c:dLbl>
              <c:idx val="3"/>
              <c:tx>
                <c:rich>
                  <a:bodyPr/>
                  <a:lstStyle/>
                  <a:p>
                    <a:pPr>
                      <a:defRPr sz="800">
                        <a:latin typeface="Nexa Book (Body)"/>
                      </a:defRPr>
                    </a:pPr>
                    <a:r>
                      <a:t>26</a:t>
                    </a:r>
                  </a:p>
                </c:rich>
              </c:tx>
              <c:showLegendKey val="0"/>
              <c:showVal val="1"/>
              <c:showCatName val="0"/>
              <c:showSerName val="0"/>
              <c:showPercent val="0"/>
              <c:showBubbleSize val="0"/>
            </c:dLbl>
            <c:dLbl>
              <c:idx val="4"/>
              <c:tx>
                <c:rich>
                  <a:bodyPr/>
                  <a:lstStyle/>
                  <a:p>
                    <a:pPr>
                      <a:defRPr sz="800">
                        <a:latin typeface="Nexa Book (Body)"/>
                      </a:defRPr>
                    </a:pPr>
                    <a:r>
                      <a:t>25</a:t>
                    </a:r>
                  </a:p>
                </c:rich>
              </c:tx>
              <c:showLegendKey val="0"/>
              <c:showVal val="1"/>
              <c:showCatName val="0"/>
              <c:showSerName val="0"/>
              <c:showPercent val="0"/>
              <c:showBubbleSize val="0"/>
            </c:dLbl>
            <c:dLbl>
              <c:idx val="5"/>
              <c:tx>
                <c:rich>
                  <a:bodyPr/>
                  <a:lstStyle/>
                  <a:p>
                    <a:pPr>
                      <a:defRPr sz="800">
                        <a:latin typeface="Nexa Book (Body)"/>
                      </a:defRPr>
                    </a:pPr>
                    <a:r>
                      <a:t>20</a:t>
                    </a:r>
                  </a:p>
                </c:rich>
              </c:tx>
              <c:showLegendKey val="0"/>
              <c:showVal val="1"/>
              <c:showCatName val="0"/>
              <c:showSerName val="0"/>
              <c:showPercent val="0"/>
              <c:showBubbleSize val="0"/>
            </c:dLbl>
            <c:dLbl>
              <c:idx val="6"/>
              <c:tx>
                <c:rich>
                  <a:bodyPr/>
                  <a:lstStyle/>
                  <a:p>
                    <a:pPr>
                      <a:defRPr sz="800">
                        <a:latin typeface="Nexa Book (Body)"/>
                      </a:defRPr>
                    </a:pPr>
                    <a:r>
                      <a:t>10</a:t>
                    </a:r>
                  </a:p>
                </c:rich>
              </c:tx>
              <c:showLegendKey val="0"/>
              <c:showVal val="1"/>
              <c:showCatName val="0"/>
              <c:showSerName val="0"/>
              <c:showPercent val="0"/>
              <c:showBubbleSize val="0"/>
            </c:dLbl>
            <c:dLbl>
              <c:idx val="7"/>
              <c:tx>
                <c:rich>
                  <a:bodyPr/>
                  <a:lstStyle/>
                  <a:p>
                    <a:pPr>
                      <a:defRPr sz="800">
                        <a:latin typeface="Nexa Book (Body)"/>
                      </a:defRPr>
                    </a:pPr>
                    <a:r>
                      <a:t>5</a:t>
                    </a:r>
                  </a:p>
                </c:rich>
              </c:tx>
              <c:showLegendKey val="0"/>
              <c:showVal val="1"/>
              <c:showCatName val="0"/>
              <c:showSerName val="0"/>
              <c:showPercent val="0"/>
              <c:showBubbleSize val="0"/>
            </c:dLbl>
            <c:dLbl>
              <c:idx val="8"/>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0</c:f>
              <c:strCache>
                <c:ptCount val="9"/>
                <c:pt idx="0">
                  <c:v>Grand</c:v>
                </c:pt>
                <c:pt idx="1">
                  <c:v>Salade</c:v>
                </c:pt>
                <c:pt idx="2">
                  <c:v>Classique</c:v>
                </c:pt>
                <c:pt idx="3">
                  <c:v>Frais A Tartiner</c:v>
                </c:pt>
                <c:pt idx="4">
                  <c:v>Chevre</c:v>
                </c:pt>
                <c:pt idx="5">
                  <c:v>Enfant</c:v>
                </c:pt>
                <c:pt idx="6">
                  <c:v>Aperitif</c:v>
                </c:pt>
                <c:pt idx="7">
                  <c:v>Brebis</c:v>
                </c:pt>
                <c:pt idx="8">
                  <c:v>Alternative Vegetale</c:v>
                </c:pt>
              </c:strCache>
            </c:strRef>
          </c:cat>
          <c:val>
            <c:numRef>
              <c:f>Sheet1!$B$2:$B$10</c:f>
              <c:numCache>
                <c:formatCode>General</c:formatCode>
                <c:ptCount val="9"/>
                <c:pt idx="0">
                  <c:v>184.201616</c:v>
                </c:pt>
                <c:pt idx="1">
                  <c:v>56.151853</c:v>
                </c:pt>
                <c:pt idx="2">
                  <c:v>41.46819</c:v>
                </c:pt>
                <c:pt idx="3">
                  <c:v>25.737106</c:v>
                </c:pt>
                <c:pt idx="4">
                  <c:v>25.477487</c:v>
                </c:pt>
                <c:pt idx="5">
                  <c:v>19.52622</c:v>
                </c:pt>
                <c:pt idx="6">
                  <c:v>10.017999</c:v>
                </c:pt>
                <c:pt idx="7">
                  <c:v>5.37055</c:v>
                </c:pt>
                <c:pt idx="8">
                  <c:v>0.452211</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6</a:t>
                    </a:r>
                  </a:p>
                </c:rich>
              </c:tx>
              <c:showLegendKey val="0"/>
              <c:showVal val="1"/>
              <c:showCatName val="0"/>
              <c:showSerName val="0"/>
              <c:showPercent val="0"/>
              <c:showBubbleSize val="0"/>
            </c:dLbl>
            <c:dLbl>
              <c:idx val="1"/>
              <c:tx>
                <c:rich>
                  <a:bodyPr/>
                  <a:lstStyle/>
                  <a:p>
                    <a:pPr>
                      <a:defRPr sz="800">
                        <a:latin typeface="Nexa Book (Body)"/>
                      </a:defRPr>
                    </a:pPr>
                  </a:p>
                </c:rich>
              </c:tx>
              <c:showLegendKey val="0"/>
              <c:showVal val="1"/>
              <c:showCatName val="0"/>
              <c:showSerName val="0"/>
              <c:showPercent val="0"/>
              <c:showBubbleSize val="0"/>
            </c:dLbl>
            <c:dLbl>
              <c:idx val="2"/>
              <c:tx>
                <c:rich>
                  <a:bodyPr/>
                  <a:lstStyle/>
                  <a:p>
                    <a:pPr>
                      <a:defRPr sz="800">
                        <a:latin typeface="Nexa Book (Body)"/>
                      </a:defRPr>
                    </a:pPr>
                  </a:p>
                </c:rich>
              </c:tx>
              <c:showLegendKey val="0"/>
              <c:showVal val="1"/>
              <c:showCatName val="0"/>
              <c:showSerName val="0"/>
              <c:showPercent val="0"/>
              <c:showBubbleSize val="0"/>
            </c:dLbl>
            <c:dLbl>
              <c:idx val="3"/>
              <c:tx>
                <c:rich>
                  <a:bodyPr/>
                  <a:lstStyle/>
                  <a:p>
                    <a:pPr>
                      <a:defRPr sz="800">
                        <a:latin typeface="Nexa Book (Body)"/>
                      </a:defRPr>
                    </a:pPr>
                  </a:p>
                </c:rich>
              </c:tx>
              <c:showLegendKey val="0"/>
              <c:showVal val="1"/>
              <c:showCatName val="0"/>
              <c:showSerName val="0"/>
              <c:showPercent val="0"/>
              <c:showBubbleSize val="0"/>
            </c:dLbl>
            <c:dLbl>
              <c:idx val="4"/>
              <c:tx>
                <c:rich>
                  <a:bodyPr/>
                  <a:lstStyle/>
                  <a:p>
                    <a:pPr>
                      <a:defRPr sz="800">
                        <a:latin typeface="Nexa Book (Body)"/>
                      </a:defRPr>
                    </a:pPr>
                  </a:p>
                </c:rich>
              </c:tx>
              <c:showLegendKey val="0"/>
              <c:showVal val="1"/>
              <c:showCatName val="0"/>
              <c:showSerName val="0"/>
              <c:showPercent val="0"/>
              <c:showBubbleSize val="0"/>
            </c:dLbl>
            <c:dLbl>
              <c:idx val="5"/>
              <c:tx>
                <c:rich>
                  <a:bodyPr/>
                  <a:lstStyle/>
                  <a:p>
                    <a:pPr>
                      <a:defRPr sz="800">
                        <a:latin typeface="Nexa Book (Body)"/>
                      </a:defRPr>
                    </a:pPr>
                    <a:r>
                      <a:t>6</a:t>
                    </a:r>
                  </a:p>
                </c:rich>
              </c:tx>
              <c:showLegendKey val="0"/>
              <c:showVal val="1"/>
              <c:showCatName val="0"/>
              <c:showSerName val="0"/>
              <c:showPercent val="0"/>
              <c:showBubbleSize val="0"/>
            </c:dLbl>
            <c:dLbl>
              <c:idx val="6"/>
              <c:tx>
                <c:rich>
                  <a:bodyPr/>
                  <a:lstStyle/>
                  <a:p>
                    <a:pPr>
                      <a:defRPr sz="800">
                        <a:latin typeface="Nexa Book (Body)"/>
                      </a:defRPr>
                    </a:pPr>
                  </a:p>
                </c:rich>
              </c:tx>
              <c:showLegendKey val="0"/>
              <c:showVal val="1"/>
              <c:showCatName val="0"/>
              <c:showSerName val="0"/>
              <c:showPercent val="0"/>
              <c:showBubbleSize val="0"/>
            </c:dLbl>
            <c:dLbl>
              <c:idx val="7"/>
              <c:tx>
                <c:rich>
                  <a:bodyPr/>
                  <a:lstStyle/>
                  <a:p>
                    <a:pPr>
                      <a:defRPr sz="800">
                        <a:latin typeface="Nexa Book (Body)"/>
                      </a:defRPr>
                    </a:pPr>
                  </a:p>
                </c:rich>
              </c:tx>
              <c:showLegendKey val="0"/>
              <c:showVal val="1"/>
              <c:showCatName val="0"/>
              <c:showSerName val="0"/>
              <c:showPercent val="0"/>
              <c:showBubbleSize val="0"/>
            </c:dLbl>
            <c:dLbl>
              <c:idx val="8"/>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0</c:f>
              <c:strCache>
                <c:ptCount val="9"/>
                <c:pt idx="0">
                  <c:v>Grand</c:v>
                </c:pt>
                <c:pt idx="1">
                  <c:v>Salade</c:v>
                </c:pt>
                <c:pt idx="2">
                  <c:v>Classique</c:v>
                </c:pt>
                <c:pt idx="3">
                  <c:v>Frais A Tartiner</c:v>
                </c:pt>
                <c:pt idx="4">
                  <c:v>Chevre</c:v>
                </c:pt>
                <c:pt idx="5">
                  <c:v>Enfant</c:v>
                </c:pt>
                <c:pt idx="6">
                  <c:v>Aperitif</c:v>
                </c:pt>
                <c:pt idx="7">
                  <c:v>Brebis</c:v>
                </c:pt>
                <c:pt idx="8">
                  <c:v>Alternative Vegetale</c:v>
                </c:pt>
              </c:strCache>
            </c:strRef>
          </c:cat>
          <c:val>
            <c:numRef>
              <c:f>Sheet1!$B$2:$B$10</c:f>
              <c:numCache>
                <c:formatCode>General</c:formatCode>
                <c:ptCount val="9"/>
                <c:pt idx="0">
                  <c:v>5.658598</c:v>
                </c:pt>
                <c:pt idx="1">
                  <c:v>0.0</c:v>
                </c:pt>
                <c:pt idx="2">
                  <c:v>0.0</c:v>
                </c:pt>
                <c:pt idx="3">
                  <c:v>0.0</c:v>
                </c:pt>
                <c:pt idx="4">
                  <c:v>0.0</c:v>
                </c:pt>
                <c:pt idx="5">
                  <c:v>5.658598</c:v>
                </c:pt>
                <c:pt idx="6">
                  <c:v>0.0</c:v>
                </c:pt>
                <c:pt idx="7">
                  <c:v>0.0</c:v>
                </c:pt>
                <c:pt idx="8">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184</a:t>
                    </a:r>
                  </a:p>
                </c:rich>
              </c:tx>
              <c:showLegendKey val="0"/>
              <c:showVal val="1"/>
              <c:showCatName val="0"/>
              <c:showSerName val="0"/>
              <c:showPercent val="0"/>
              <c:showBubbleSize val="0"/>
            </c:dLbl>
            <c:dLbl>
              <c:idx val="1"/>
              <c:tx>
                <c:rich>
                  <a:bodyPr/>
                  <a:lstStyle/>
                  <a:p>
                    <a:pPr>
                      <a:defRPr sz="800">
                        <a:latin typeface="Nexa Book (Body)"/>
                      </a:defRPr>
                    </a:pPr>
                    <a:r>
                      <a:t>56</a:t>
                    </a:r>
                  </a:p>
                </c:rich>
              </c:tx>
              <c:showLegendKey val="0"/>
              <c:showVal val="1"/>
              <c:showCatName val="0"/>
              <c:showSerName val="0"/>
              <c:showPercent val="0"/>
              <c:showBubbleSize val="0"/>
            </c:dLbl>
            <c:dLbl>
              <c:idx val="2"/>
              <c:tx>
                <c:rich>
                  <a:bodyPr/>
                  <a:lstStyle/>
                  <a:p>
                    <a:pPr>
                      <a:defRPr sz="800">
                        <a:latin typeface="Nexa Book (Body)"/>
                      </a:defRPr>
                    </a:pPr>
                    <a:r>
                      <a:t>41</a:t>
                    </a:r>
                  </a:p>
                </c:rich>
              </c:tx>
              <c:showLegendKey val="0"/>
              <c:showVal val="1"/>
              <c:showCatName val="0"/>
              <c:showSerName val="0"/>
              <c:showPercent val="0"/>
              <c:showBubbleSize val="0"/>
            </c:dLbl>
            <c:dLbl>
              <c:idx val="3"/>
              <c:tx>
                <c:rich>
                  <a:bodyPr/>
                  <a:lstStyle/>
                  <a:p>
                    <a:pPr>
                      <a:defRPr sz="800">
                        <a:latin typeface="Nexa Book (Body)"/>
                      </a:defRPr>
                    </a:pPr>
                    <a:r>
                      <a:t>26</a:t>
                    </a:r>
                  </a:p>
                </c:rich>
              </c:tx>
              <c:showLegendKey val="0"/>
              <c:showVal val="1"/>
              <c:showCatName val="0"/>
              <c:showSerName val="0"/>
              <c:showPercent val="0"/>
              <c:showBubbleSize val="0"/>
            </c:dLbl>
            <c:dLbl>
              <c:idx val="4"/>
              <c:tx>
                <c:rich>
                  <a:bodyPr/>
                  <a:lstStyle/>
                  <a:p>
                    <a:pPr>
                      <a:defRPr sz="800">
                        <a:latin typeface="Nexa Book (Body)"/>
                      </a:defRPr>
                    </a:pPr>
                    <a:r>
                      <a:t>25</a:t>
                    </a:r>
                  </a:p>
                </c:rich>
              </c:tx>
              <c:showLegendKey val="0"/>
              <c:showVal val="1"/>
              <c:showCatName val="0"/>
              <c:showSerName val="0"/>
              <c:showPercent val="0"/>
              <c:showBubbleSize val="0"/>
            </c:dLbl>
            <c:dLbl>
              <c:idx val="5"/>
              <c:tx>
                <c:rich>
                  <a:bodyPr/>
                  <a:lstStyle/>
                  <a:p>
                    <a:pPr>
                      <a:defRPr sz="800">
                        <a:latin typeface="Nexa Book (Body)"/>
                      </a:defRPr>
                    </a:pPr>
                    <a:r>
                      <a:t>20</a:t>
                    </a:r>
                  </a:p>
                </c:rich>
              </c:tx>
              <c:showLegendKey val="0"/>
              <c:showVal val="1"/>
              <c:showCatName val="0"/>
              <c:showSerName val="0"/>
              <c:showPercent val="0"/>
              <c:showBubbleSize val="0"/>
            </c:dLbl>
            <c:dLbl>
              <c:idx val="6"/>
              <c:tx>
                <c:rich>
                  <a:bodyPr/>
                  <a:lstStyle/>
                  <a:p>
                    <a:pPr>
                      <a:defRPr sz="800">
                        <a:latin typeface="Nexa Book (Body)"/>
                      </a:defRPr>
                    </a:pPr>
                    <a:r>
                      <a:t>10</a:t>
                    </a:r>
                  </a:p>
                </c:rich>
              </c:tx>
              <c:showLegendKey val="0"/>
              <c:showVal val="1"/>
              <c:showCatName val="0"/>
              <c:showSerName val="0"/>
              <c:showPercent val="0"/>
              <c:showBubbleSize val="0"/>
            </c:dLbl>
            <c:dLbl>
              <c:idx val="7"/>
              <c:tx>
                <c:rich>
                  <a:bodyPr/>
                  <a:lstStyle/>
                  <a:p>
                    <a:pPr>
                      <a:defRPr sz="800">
                        <a:latin typeface="Nexa Book (Body)"/>
                      </a:defRPr>
                    </a:pPr>
                    <a:r>
                      <a:t>5</a:t>
                    </a:r>
                  </a:p>
                </c:rich>
              </c:tx>
              <c:showLegendKey val="0"/>
              <c:showVal val="1"/>
              <c:showCatName val="0"/>
              <c:showSerName val="0"/>
              <c:showPercent val="0"/>
              <c:showBubbleSize val="0"/>
            </c:dLbl>
            <c:dLbl>
              <c:idx val="8"/>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0</c:f>
              <c:strCache>
                <c:ptCount val="9"/>
                <c:pt idx="0">
                  <c:v>Grand</c:v>
                </c:pt>
                <c:pt idx="1">
                  <c:v>Salade</c:v>
                </c:pt>
                <c:pt idx="2">
                  <c:v>Classique</c:v>
                </c:pt>
                <c:pt idx="3">
                  <c:v>Frais A Tartiner</c:v>
                </c:pt>
                <c:pt idx="4">
                  <c:v>Chevre</c:v>
                </c:pt>
                <c:pt idx="5">
                  <c:v>Enfant</c:v>
                </c:pt>
                <c:pt idx="6">
                  <c:v>Aperitif</c:v>
                </c:pt>
                <c:pt idx="7">
                  <c:v>Brebis</c:v>
                </c:pt>
                <c:pt idx="8">
                  <c:v>Alternative Vegetale</c:v>
                </c:pt>
              </c:strCache>
            </c:strRef>
          </c:cat>
          <c:val>
            <c:numRef>
              <c:f>Sheet1!$B$2:$B$10</c:f>
              <c:numCache>
                <c:formatCode>General</c:formatCode>
                <c:ptCount val="9"/>
                <c:pt idx="0">
                  <c:v>184.201616</c:v>
                </c:pt>
                <c:pt idx="1">
                  <c:v>56.151853</c:v>
                </c:pt>
                <c:pt idx="2">
                  <c:v>41.46819</c:v>
                </c:pt>
                <c:pt idx="3">
                  <c:v>25.737106</c:v>
                </c:pt>
                <c:pt idx="4">
                  <c:v>25.477487</c:v>
                </c:pt>
                <c:pt idx="5">
                  <c:v>19.52622</c:v>
                </c:pt>
                <c:pt idx="6">
                  <c:v>10.017999</c:v>
                </c:pt>
                <c:pt idx="7">
                  <c:v>5.37055</c:v>
                </c:pt>
                <c:pt idx="8">
                  <c:v>0.452211</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5</a:t>
                    </a:r>
                  </a:p>
                </c:rich>
              </c:tx>
              <c:showLegendKey val="0"/>
              <c:showVal val="1"/>
              <c:showCatName val="0"/>
              <c:showSerName val="0"/>
              <c:showPercent val="0"/>
              <c:showBubbleSize val="0"/>
            </c:dLbl>
            <c:dLbl>
              <c:idx val="1"/>
              <c:tx>
                <c:rich>
                  <a:bodyPr/>
                  <a:lstStyle/>
                  <a:p>
                    <a:pPr>
                      <a:defRPr sz="800">
                        <a:latin typeface="Nexa Book (Body)"/>
                      </a:defRPr>
                    </a:pPr>
                    <a:r>
                      <a:t>1</a:t>
                    </a:r>
                  </a:p>
                </c:rich>
              </c:tx>
              <c:showLegendKey val="0"/>
              <c:showVal val="1"/>
              <c:showCatName val="0"/>
              <c:showSerName val="0"/>
              <c:showPercent val="0"/>
              <c:showBubbleSize val="0"/>
            </c:dLbl>
            <c:dLbl>
              <c:idx val="2"/>
              <c:tx>
                <c:rich>
                  <a:bodyPr/>
                  <a:lstStyle/>
                  <a:p>
                    <a:pPr>
                      <a:defRPr sz="800">
                        <a:latin typeface="Nexa Book (Body)"/>
                      </a:defRPr>
                    </a:pPr>
                  </a:p>
                </c:rich>
              </c:tx>
              <c:showLegendKey val="0"/>
              <c:showVal val="1"/>
              <c:showCatName val="0"/>
              <c:showSerName val="0"/>
              <c:showPercent val="0"/>
              <c:showBubbleSize val="0"/>
            </c:dLbl>
            <c:dLbl>
              <c:idx val="3"/>
              <c:tx>
                <c:rich>
                  <a:bodyPr/>
                  <a:lstStyle/>
                  <a:p>
                    <a:pPr>
                      <a:defRPr sz="800">
                        <a:latin typeface="Nexa Book (Body)"/>
                      </a:defRPr>
                    </a:pPr>
                    <a:r>
                      <a:t>3</a:t>
                    </a:r>
                  </a:p>
                </c:rich>
              </c:tx>
              <c:showLegendKey val="0"/>
              <c:showVal val="1"/>
              <c:showCatName val="0"/>
              <c:showSerName val="0"/>
              <c:showPercent val="0"/>
              <c:showBubbleSize val="0"/>
            </c:dLbl>
            <c:dLbl>
              <c:idx val="4"/>
              <c:tx>
                <c:rich>
                  <a:bodyPr/>
                  <a:lstStyle/>
                  <a:p>
                    <a:pPr>
                      <a:defRPr sz="800">
                        <a:latin typeface="Nexa Book (Body)"/>
                      </a:defRPr>
                    </a:pPr>
                  </a:p>
                </c:rich>
              </c:tx>
              <c:showLegendKey val="0"/>
              <c:showVal val="1"/>
              <c:showCatName val="0"/>
              <c:showSerName val="0"/>
              <c:showPercent val="0"/>
              <c:showBubbleSize val="0"/>
            </c:dLbl>
            <c:dLbl>
              <c:idx val="5"/>
              <c:tx>
                <c:rich>
                  <a:bodyPr/>
                  <a:lstStyle/>
                  <a:p>
                    <a:pPr>
                      <a:defRPr sz="800">
                        <a:latin typeface="Nexa Book (Body)"/>
                      </a:defRPr>
                    </a:pPr>
                  </a:p>
                </c:rich>
              </c:tx>
              <c:showLegendKey val="0"/>
              <c:showVal val="1"/>
              <c:showCatName val="0"/>
              <c:showSerName val="0"/>
              <c:showPercent val="0"/>
              <c:showBubbleSize val="0"/>
            </c:dLbl>
            <c:dLbl>
              <c:idx val="6"/>
              <c:tx>
                <c:rich>
                  <a:bodyPr/>
                  <a:lstStyle/>
                  <a:p>
                    <a:pPr>
                      <a:defRPr sz="800">
                        <a:latin typeface="Nexa Book (Body)"/>
                      </a:defRPr>
                    </a:pPr>
                    <a:r>
                      <a:t>1</a:t>
                    </a:r>
                  </a:p>
                </c:rich>
              </c:tx>
              <c:showLegendKey val="0"/>
              <c:showVal val="1"/>
              <c:showCatName val="0"/>
              <c:showSerName val="0"/>
              <c:showPercent val="0"/>
              <c:showBubbleSize val="0"/>
            </c:dLbl>
            <c:dLbl>
              <c:idx val="7"/>
              <c:tx>
                <c:rich>
                  <a:bodyPr/>
                  <a:lstStyle/>
                  <a:p>
                    <a:pPr>
                      <a:defRPr sz="800">
                        <a:latin typeface="Nexa Book (Body)"/>
                      </a:defRPr>
                    </a:pPr>
                  </a:p>
                </c:rich>
              </c:tx>
              <c:showLegendKey val="0"/>
              <c:showVal val="1"/>
              <c:showCatName val="0"/>
              <c:showSerName val="0"/>
              <c:showPercent val="0"/>
              <c:showBubbleSize val="0"/>
            </c:dLbl>
            <c:dLbl>
              <c:idx val="8"/>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0</c:f>
              <c:strCache>
                <c:ptCount val="9"/>
                <c:pt idx="0">
                  <c:v>Grand</c:v>
                </c:pt>
                <c:pt idx="1">
                  <c:v>Salade</c:v>
                </c:pt>
                <c:pt idx="2">
                  <c:v>Classique</c:v>
                </c:pt>
                <c:pt idx="3">
                  <c:v>Frais A Tartiner</c:v>
                </c:pt>
                <c:pt idx="4">
                  <c:v>Chevre</c:v>
                </c:pt>
                <c:pt idx="5">
                  <c:v>Enfant</c:v>
                </c:pt>
                <c:pt idx="6">
                  <c:v>Aperitif</c:v>
                </c:pt>
                <c:pt idx="7">
                  <c:v>Brebis</c:v>
                </c:pt>
                <c:pt idx="8">
                  <c:v>Alternative Vegetale</c:v>
                </c:pt>
              </c:strCache>
            </c:strRef>
          </c:cat>
          <c:val>
            <c:numRef>
              <c:f>Sheet1!$B$2:$B$10</c:f>
              <c:numCache>
                <c:formatCode>General</c:formatCode>
                <c:ptCount val="9"/>
                <c:pt idx="0">
                  <c:v>5.41902</c:v>
                </c:pt>
                <c:pt idx="1">
                  <c:v>0.772136</c:v>
                </c:pt>
                <c:pt idx="2">
                  <c:v>0.0</c:v>
                </c:pt>
                <c:pt idx="3">
                  <c:v>3.468819</c:v>
                </c:pt>
                <c:pt idx="4">
                  <c:v>0.0</c:v>
                </c:pt>
                <c:pt idx="5">
                  <c:v>0.0</c:v>
                </c:pt>
                <c:pt idx="6">
                  <c:v>1.178065</c:v>
                </c:pt>
                <c:pt idx="7">
                  <c:v>0.0</c:v>
                </c:pt>
                <c:pt idx="8">
                  <c:v>0.0</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dLbl>
              <c:idx val="0"/>
              <c:tx>
                <c:rich>
                  <a:bodyPr/>
                  <a:lstStyle/>
                  <a:p>
                    <a:pPr>
                      <a:defRPr sz="800">
                        <a:latin typeface="Nexa Book (Body)"/>
                      </a:defRPr>
                    </a:pPr>
                    <a:r>
                      <a:t>184</a:t>
                    </a:r>
                  </a:p>
                </c:rich>
              </c:tx>
              <c:showLegendKey val="0"/>
              <c:showVal val="1"/>
              <c:showCatName val="0"/>
              <c:showSerName val="0"/>
              <c:showPercent val="0"/>
              <c:showBubbleSize val="0"/>
            </c:dLbl>
            <c:dLbl>
              <c:idx val="1"/>
              <c:tx>
                <c:rich>
                  <a:bodyPr/>
                  <a:lstStyle/>
                  <a:p>
                    <a:pPr>
                      <a:defRPr sz="800">
                        <a:latin typeface="Nexa Book (Body)"/>
                      </a:defRPr>
                    </a:pPr>
                    <a:r>
                      <a:t>56</a:t>
                    </a:r>
                  </a:p>
                </c:rich>
              </c:tx>
              <c:showLegendKey val="0"/>
              <c:showVal val="1"/>
              <c:showCatName val="0"/>
              <c:showSerName val="0"/>
              <c:showPercent val="0"/>
              <c:showBubbleSize val="0"/>
            </c:dLbl>
            <c:dLbl>
              <c:idx val="2"/>
              <c:tx>
                <c:rich>
                  <a:bodyPr/>
                  <a:lstStyle/>
                  <a:p>
                    <a:pPr>
                      <a:defRPr sz="800">
                        <a:latin typeface="Nexa Book (Body)"/>
                      </a:defRPr>
                    </a:pPr>
                    <a:r>
                      <a:t>41</a:t>
                    </a:r>
                  </a:p>
                </c:rich>
              </c:tx>
              <c:showLegendKey val="0"/>
              <c:showVal val="1"/>
              <c:showCatName val="0"/>
              <c:showSerName val="0"/>
              <c:showPercent val="0"/>
              <c:showBubbleSize val="0"/>
            </c:dLbl>
            <c:dLbl>
              <c:idx val="3"/>
              <c:tx>
                <c:rich>
                  <a:bodyPr/>
                  <a:lstStyle/>
                  <a:p>
                    <a:pPr>
                      <a:defRPr sz="800">
                        <a:latin typeface="Nexa Book (Body)"/>
                      </a:defRPr>
                    </a:pPr>
                    <a:r>
                      <a:t>26</a:t>
                    </a:r>
                  </a:p>
                </c:rich>
              </c:tx>
              <c:showLegendKey val="0"/>
              <c:showVal val="1"/>
              <c:showCatName val="0"/>
              <c:showSerName val="0"/>
              <c:showPercent val="0"/>
              <c:showBubbleSize val="0"/>
            </c:dLbl>
            <c:dLbl>
              <c:idx val="4"/>
              <c:tx>
                <c:rich>
                  <a:bodyPr/>
                  <a:lstStyle/>
                  <a:p>
                    <a:pPr>
                      <a:defRPr sz="800">
                        <a:latin typeface="Nexa Book (Body)"/>
                      </a:defRPr>
                    </a:pPr>
                    <a:r>
                      <a:t>25</a:t>
                    </a:r>
                  </a:p>
                </c:rich>
              </c:tx>
              <c:showLegendKey val="0"/>
              <c:showVal val="1"/>
              <c:showCatName val="0"/>
              <c:showSerName val="0"/>
              <c:showPercent val="0"/>
              <c:showBubbleSize val="0"/>
            </c:dLbl>
            <c:dLbl>
              <c:idx val="5"/>
              <c:tx>
                <c:rich>
                  <a:bodyPr/>
                  <a:lstStyle/>
                  <a:p>
                    <a:pPr>
                      <a:defRPr sz="800">
                        <a:latin typeface="Nexa Book (Body)"/>
                      </a:defRPr>
                    </a:pPr>
                    <a:r>
                      <a:t>20</a:t>
                    </a:r>
                  </a:p>
                </c:rich>
              </c:tx>
              <c:showLegendKey val="0"/>
              <c:showVal val="1"/>
              <c:showCatName val="0"/>
              <c:showSerName val="0"/>
              <c:showPercent val="0"/>
              <c:showBubbleSize val="0"/>
            </c:dLbl>
            <c:dLbl>
              <c:idx val="6"/>
              <c:tx>
                <c:rich>
                  <a:bodyPr/>
                  <a:lstStyle/>
                  <a:p>
                    <a:pPr>
                      <a:defRPr sz="800">
                        <a:latin typeface="Nexa Book (Body)"/>
                      </a:defRPr>
                    </a:pPr>
                    <a:r>
                      <a:t>10</a:t>
                    </a:r>
                  </a:p>
                </c:rich>
              </c:tx>
              <c:showLegendKey val="0"/>
              <c:showVal val="1"/>
              <c:showCatName val="0"/>
              <c:showSerName val="0"/>
              <c:showPercent val="0"/>
              <c:showBubbleSize val="0"/>
            </c:dLbl>
            <c:dLbl>
              <c:idx val="7"/>
              <c:tx>
                <c:rich>
                  <a:bodyPr/>
                  <a:lstStyle/>
                  <a:p>
                    <a:pPr>
                      <a:defRPr sz="800">
                        <a:latin typeface="Nexa Book (Body)"/>
                      </a:defRPr>
                    </a:pPr>
                    <a:r>
                      <a:t>5</a:t>
                    </a:r>
                  </a:p>
                </c:rich>
              </c:tx>
              <c:showLegendKey val="0"/>
              <c:showVal val="1"/>
              <c:showCatName val="0"/>
              <c:showSerName val="0"/>
              <c:showPercent val="0"/>
              <c:showBubbleSize val="0"/>
            </c:dLbl>
            <c:dLbl>
              <c:idx val="8"/>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0</c:f>
              <c:strCache>
                <c:ptCount val="9"/>
                <c:pt idx="0">
                  <c:v>Grand</c:v>
                </c:pt>
                <c:pt idx="1">
                  <c:v>Salade</c:v>
                </c:pt>
                <c:pt idx="2">
                  <c:v>Classique</c:v>
                </c:pt>
                <c:pt idx="3">
                  <c:v>Frais A Tartiner</c:v>
                </c:pt>
                <c:pt idx="4">
                  <c:v>Chevre</c:v>
                </c:pt>
                <c:pt idx="5">
                  <c:v>Enfant</c:v>
                </c:pt>
                <c:pt idx="6">
                  <c:v>Aperitif</c:v>
                </c:pt>
                <c:pt idx="7">
                  <c:v>Brebis</c:v>
                </c:pt>
                <c:pt idx="8">
                  <c:v>Alternative Vegetale</c:v>
                </c:pt>
              </c:strCache>
            </c:strRef>
          </c:cat>
          <c:val>
            <c:numRef>
              <c:f>Sheet1!$B$2:$B$10</c:f>
              <c:numCache>
                <c:formatCode>General</c:formatCode>
                <c:ptCount val="9"/>
                <c:pt idx="0">
                  <c:v>184.201616</c:v>
                </c:pt>
                <c:pt idx="1">
                  <c:v>56.151853</c:v>
                </c:pt>
                <c:pt idx="2">
                  <c:v>41.46819</c:v>
                </c:pt>
                <c:pt idx="3">
                  <c:v>25.737106</c:v>
                </c:pt>
                <c:pt idx="4">
                  <c:v>25.477487</c:v>
                </c:pt>
                <c:pt idx="5">
                  <c:v>19.52622</c:v>
                </c:pt>
                <c:pt idx="6">
                  <c:v>10.017999</c:v>
                </c:pt>
                <c:pt idx="7">
                  <c:v>5.37055</c:v>
                </c:pt>
                <c:pt idx="8">
                  <c:v>0.452211</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dLbl>
              <c:idx val="0"/>
              <c:tx>
                <c:rich>
                  <a:bodyPr/>
                  <a:lstStyle/>
                  <a:p>
                    <a:pPr>
                      <a:defRPr sz="800">
                        <a:latin typeface="Nexa Book (Body)"/>
                      </a:defRPr>
                    </a:pPr>
                    <a:r>
                      <a:t>26</a:t>
                    </a:r>
                  </a:p>
                </c:rich>
              </c:tx>
              <c:showLegendKey val="0"/>
              <c:showVal val="1"/>
              <c:showCatName val="0"/>
              <c:showSerName val="0"/>
              <c:showPercent val="0"/>
              <c:showBubbleSize val="0"/>
            </c:dLbl>
            <c:dLbl>
              <c:idx val="1"/>
              <c:tx>
                <c:rich>
                  <a:bodyPr/>
                  <a:lstStyle/>
                  <a:p>
                    <a:pPr>
                      <a:defRPr sz="800">
                        <a:latin typeface="Nexa Book (Body)"/>
                      </a:defRPr>
                    </a:pPr>
                    <a:r>
                      <a:t>1</a:t>
                    </a:r>
                  </a:p>
                </c:rich>
              </c:tx>
              <c:showLegendKey val="0"/>
              <c:showVal val="1"/>
              <c:showCatName val="0"/>
              <c:showSerName val="0"/>
              <c:showPercent val="0"/>
              <c:showBubbleSize val="0"/>
            </c:dLbl>
            <c:dLbl>
              <c:idx val="2"/>
              <c:tx>
                <c:rich>
                  <a:bodyPr/>
                  <a:lstStyle/>
                  <a:p>
                    <a:pPr>
                      <a:defRPr sz="800">
                        <a:latin typeface="Nexa Book (Body)"/>
                      </a:defRPr>
                    </a:pPr>
                  </a:p>
                </c:rich>
              </c:tx>
              <c:showLegendKey val="0"/>
              <c:showVal val="1"/>
              <c:showCatName val="0"/>
              <c:showSerName val="0"/>
              <c:showPercent val="0"/>
              <c:showBubbleSize val="0"/>
            </c:dLbl>
            <c:dLbl>
              <c:idx val="3"/>
              <c:tx>
                <c:rich>
                  <a:bodyPr/>
                  <a:lstStyle/>
                  <a:p>
                    <a:pPr>
                      <a:defRPr sz="800">
                        <a:latin typeface="Nexa Book (Body)"/>
                      </a:defRPr>
                    </a:pPr>
                    <a:r>
                      <a:t>4</a:t>
                    </a:r>
                  </a:p>
                </c:rich>
              </c:tx>
              <c:showLegendKey val="0"/>
              <c:showVal val="1"/>
              <c:showCatName val="0"/>
              <c:showSerName val="0"/>
              <c:showPercent val="0"/>
              <c:showBubbleSize val="0"/>
            </c:dLbl>
            <c:dLbl>
              <c:idx val="4"/>
              <c:tx>
                <c:rich>
                  <a:bodyPr/>
                  <a:lstStyle/>
                  <a:p>
                    <a:pPr>
                      <a:defRPr sz="800">
                        <a:latin typeface="Nexa Book (Body)"/>
                      </a:defRPr>
                    </a:pPr>
                  </a:p>
                </c:rich>
              </c:tx>
              <c:showLegendKey val="0"/>
              <c:showVal val="1"/>
              <c:showCatName val="0"/>
              <c:showSerName val="0"/>
              <c:showPercent val="0"/>
              <c:showBubbleSize val="0"/>
            </c:dLbl>
            <c:dLbl>
              <c:idx val="5"/>
              <c:tx>
                <c:rich>
                  <a:bodyPr/>
                  <a:lstStyle/>
                  <a:p>
                    <a:pPr>
                      <a:defRPr sz="800">
                        <a:latin typeface="Nexa Book (Body)"/>
                      </a:defRPr>
                    </a:pPr>
                    <a:r>
                      <a:t>15</a:t>
                    </a:r>
                  </a:p>
                </c:rich>
              </c:tx>
              <c:showLegendKey val="0"/>
              <c:showVal val="1"/>
              <c:showCatName val="0"/>
              <c:showSerName val="0"/>
              <c:showPercent val="0"/>
              <c:showBubbleSize val="0"/>
            </c:dLbl>
            <c:dLbl>
              <c:idx val="6"/>
              <c:tx>
                <c:rich>
                  <a:bodyPr/>
                  <a:lstStyle/>
                  <a:p>
                    <a:pPr>
                      <a:defRPr sz="800">
                        <a:latin typeface="Nexa Book (Body)"/>
                      </a:defRPr>
                    </a:pPr>
                    <a:r>
                      <a:t>7</a:t>
                    </a:r>
                  </a:p>
                </c:rich>
              </c:tx>
              <c:showLegendKey val="0"/>
              <c:showVal val="1"/>
              <c:showCatName val="0"/>
              <c:showSerName val="0"/>
              <c:showPercent val="0"/>
              <c:showBubbleSize val="0"/>
            </c:dLbl>
            <c:dLbl>
              <c:idx val="7"/>
              <c:tx>
                <c:rich>
                  <a:bodyPr/>
                  <a:lstStyle/>
                  <a:p>
                    <a:pPr>
                      <a:defRPr sz="800">
                        <a:latin typeface="Nexa Book (Body)"/>
                      </a:defRPr>
                    </a:pPr>
                  </a:p>
                </c:rich>
              </c:tx>
              <c:showLegendKey val="0"/>
              <c:showVal val="1"/>
              <c:showCatName val="0"/>
              <c:showSerName val="0"/>
              <c:showPercent val="0"/>
              <c:showBubbleSize val="0"/>
            </c:dLbl>
            <c:dLbl>
              <c:idx val="8"/>
              <c:tx>
                <c:rich>
                  <a:bodyPr/>
                  <a:lstStyle/>
                  <a:p>
                    <a:pPr>
                      <a:defRPr sz="800">
                        <a:latin typeface="Nexa Book (Body)"/>
                      </a:defRPr>
                    </a:pPr>
                  </a:p>
                </c:rich>
              </c:tx>
              <c:showLegendKey val="0"/>
              <c:showVal val="1"/>
              <c:showCatName val="0"/>
              <c:showSerName val="0"/>
              <c:showPercent val="0"/>
              <c:showBubbleSize val="0"/>
            </c:dLbl>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0</c:f>
              <c:strCache>
                <c:ptCount val="9"/>
                <c:pt idx="0">
                  <c:v>Grand</c:v>
                </c:pt>
                <c:pt idx="1">
                  <c:v>Salade</c:v>
                </c:pt>
                <c:pt idx="2">
                  <c:v>Classique</c:v>
                </c:pt>
                <c:pt idx="3">
                  <c:v>Frais A Tartiner</c:v>
                </c:pt>
                <c:pt idx="4">
                  <c:v>Chevre</c:v>
                </c:pt>
                <c:pt idx="5">
                  <c:v>Enfant</c:v>
                </c:pt>
                <c:pt idx="6">
                  <c:v>Aperitif</c:v>
                </c:pt>
                <c:pt idx="7">
                  <c:v>Brebis</c:v>
                </c:pt>
                <c:pt idx="8">
                  <c:v>Alternative Vegetale</c:v>
                </c:pt>
              </c:strCache>
            </c:strRef>
          </c:cat>
          <c:val>
            <c:numRef>
              <c:f>Sheet1!$B$2:$B$10</c:f>
              <c:numCache>
                <c:formatCode>General</c:formatCode>
                <c:ptCount val="9"/>
                <c:pt idx="0">
                  <c:v>26.434171</c:v>
                </c:pt>
                <c:pt idx="1">
                  <c:v>0.772136</c:v>
                </c:pt>
                <c:pt idx="2">
                  <c:v>0.0</c:v>
                </c:pt>
                <c:pt idx="3">
                  <c:v>3.642925</c:v>
                </c:pt>
                <c:pt idx="4">
                  <c:v>0.0</c:v>
                </c:pt>
                <c:pt idx="5">
                  <c:v>14.944759</c:v>
                </c:pt>
                <c:pt idx="6">
                  <c:v>6.950194</c:v>
                </c:pt>
                <c:pt idx="7">
                  <c:v>0.0</c:v>
                </c:pt>
                <c:pt idx="8">
                  <c:v>0.124157</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55.9 %</a:t>
                    </a:r>
                  </a:p>
                </c:rich>
              </c:tx>
              <c:dLblPos val="ctr"/>
              <c:showLegendKey val="0"/>
              <c:showVal val="1"/>
              <c:showCatName val="0"/>
              <c:showSerName val="0"/>
              <c:showPercent val="0"/>
              <c:showBubbleSize val="0"/>
            </c:dLbl>
            <c:dLbl>
              <c:idx val="2"/>
              <c:tx>
                <c:rich>
                  <a:bodyPr/>
                  <a:lstStyle/>
                  <a:p>
                    <a:pPr>
                      <a:defRPr sz="800">
                        <a:latin typeface="Nexa Book"/>
                      </a:defRPr>
                    </a:pPr>
                    <a:r>
                      <a:t>44.1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1.0</c:v>
                </c:pt>
                <c:pt idx="1">
                  <c:v>0.5586</c:v>
                </c:pt>
                <c:pt idx="2">
                  <c:v>0.441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55.1 %</a:t>
                    </a:r>
                  </a:p>
                </c:rich>
              </c:tx>
              <c:dLblPos val="ctr"/>
              <c:showLegendKey val="0"/>
              <c:showVal val="1"/>
              <c:showCatName val="0"/>
              <c:showSerName val="0"/>
              <c:showPercent val="0"/>
              <c:showBubbleSize val="0"/>
            </c:dLbl>
            <c:dLbl>
              <c:idx val="2"/>
              <c:tx>
                <c:rich>
                  <a:bodyPr/>
                  <a:lstStyle/>
                  <a:p>
                    <a:pPr>
                      <a:defRPr sz="800">
                        <a:latin typeface="Nexa Book"/>
                      </a:defRPr>
                    </a:pPr>
                    <a:r>
                      <a:t>44.9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1.0</c:v>
                </c:pt>
                <c:pt idx="1">
                  <c:v>0.5513</c:v>
                </c:pt>
                <c:pt idx="2">
                  <c:v>0.448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417</a:t>
                    </a:r>
                  </a:p>
                </c:rich>
              </c:tx>
              <c:dLblPos val="ctr"/>
              <c:showLegendKey val="0"/>
              <c:showVal val="1"/>
              <c:showCatName val="0"/>
              <c:showSerName val="0"/>
              <c:showPercent val="0"/>
              <c:showBubbleSize val="0"/>
            </c:dLbl>
            <c:dLbl>
              <c:idx val="1"/>
              <c:tx>
                <c:rich>
                  <a:bodyPr/>
                  <a:lstStyle/>
                  <a:p>
                    <a:pPr>
                      <a:defRPr sz="800">
                        <a:latin typeface="Nexa Book"/>
                      </a:defRPr>
                    </a:pPr>
                    <a:r>
                      <a:t>233</a:t>
                    </a:r>
                  </a:p>
                </c:rich>
              </c:tx>
              <c:dLblPos val="ctr"/>
              <c:showLegendKey val="0"/>
              <c:showVal val="1"/>
              <c:showCatName val="0"/>
              <c:showSerName val="0"/>
              <c:showPercent val="0"/>
              <c:showBubbleSize val="0"/>
            </c:dLbl>
            <c:dLbl>
              <c:idx val="2"/>
              <c:tx>
                <c:rich>
                  <a:bodyPr/>
                  <a:lstStyle/>
                  <a:p>
                    <a:pPr>
                      <a:defRPr sz="800">
                        <a:latin typeface="Nexa Book"/>
                      </a:defRPr>
                    </a:pPr>
                    <a:r>
                      <a:t>184</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417337362.0</c:v>
                </c:pt>
                <c:pt idx="1">
                  <c:v>233135746.0</c:v>
                </c:pt>
                <c:pt idx="2">
                  <c:v>184201616.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3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0</c:f>
              <c:numCache>
                <c:formatCode>General</c:formatCode>
                <c:ptCount val="9"/>
                <c:pt idx="0">
                  <c:v>0.004660339983711681</c:v>
                </c:pt>
                <c:pt idx="1">
                  <c:v>-0.001863153201534934</c:v>
                </c:pt>
                <c:pt idx="2">
                  <c:v>-0.00773687291700853</c:v>
                </c:pt>
                <c:pt idx="3">
                  <c:v>-0.0070245660589938475</c:v>
                </c:pt>
                <c:pt idx="4">
                  <c:v>-0.0037520616916782296</c:v>
                </c:pt>
                <c:pt idx="5">
                  <c:v>0.008542942961377777</c:v>
                </c:pt>
                <c:pt idx="6">
                  <c:v>0.0030567404073762426</c:v>
                </c:pt>
                <c:pt idx="7">
                  <c:v>0.00016690167622677998</c:v>
                </c:pt>
                <c:pt idx="8">
                  <c:v>0.003949728840523078</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11</a:t>
                    </a:r>
                  </a:p>
                </c:rich>
              </c:tx>
              <c:dLblPos val="ctr"/>
              <c:showLegendKey val="0"/>
              <c:showVal val="1"/>
              <c:showCatName val="0"/>
              <c:showSerName val="0"/>
              <c:showPercent val="0"/>
              <c:showBubbleSize val="0"/>
            </c:dLbl>
            <c:dLbl>
              <c:idx val="1"/>
              <c:tx>
                <c:rich>
                  <a:bodyPr/>
                  <a:lstStyle/>
                  <a:p>
                    <a:pPr>
                      <a:defRPr sz="800">
                        <a:latin typeface="Nexa Book"/>
                      </a:defRPr>
                    </a:pPr>
                    <a:r>
                      <a:t>6</a:t>
                    </a:r>
                  </a:p>
                </c:rich>
              </c:tx>
              <c:dLblPos val="ctr"/>
              <c:showLegendKey val="0"/>
              <c:showVal val="1"/>
              <c:showCatName val="0"/>
              <c:showSerName val="0"/>
              <c:showPercent val="0"/>
              <c:showBubbleSize val="0"/>
            </c:dLbl>
            <c:dLbl>
              <c:idx val="2"/>
              <c:tx>
                <c:rich>
                  <a:bodyPr/>
                  <a:lstStyle/>
                  <a:p>
                    <a:pPr>
                      <a:defRPr sz="800">
                        <a:latin typeface="Nexa Book"/>
                      </a:defRPr>
                    </a:pPr>
                    <a:r>
                      <a:t>5</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10578704.0</c:v>
                </c:pt>
                <c:pt idx="1">
                  <c:v>5831683.0</c:v>
                </c:pt>
                <c:pt idx="2">
                  <c:v>4747021.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1-2960-4508-BA80-9CD1D30EF006}"/>
              </c:ext>
            </c:extLst>
          </c:dPt>
          <c:dPt>
            <c:idx val="1"/>
            <c:invertIfNegative val="1"/>
            <c:bubble3D val="0"/>
            <c:extLst>
              <c:ext xmlns:c16="http://schemas.microsoft.com/office/drawing/2014/chart" uri="{C3380CC4-5D6E-409C-BE32-E72D297353CC}">
                <c16:uniqueId val="{00000003-A2FA-4046-9F96-F8B0F3C1321B}"/>
              </c:ext>
            </c:extLst>
          </c:dPt>
          <c:dPt>
            <c:idx val="2"/>
            <c:invertIfNegative val="1"/>
            <c:bubble3D val="0"/>
            <c:extLst>
              <c:ext xmlns:c16="http://schemas.microsoft.com/office/drawing/2014/chart" uri="{C3380CC4-5D6E-409C-BE32-E72D297353CC}">
                <c16:uniqueId val="{00000005-A2FA-4046-9F96-F8B0F3C1321B}"/>
              </c:ext>
            </c:extLst>
          </c:dPt>
          <c:dPt>
            <c:idx val="3"/>
            <c:invertIfNegative val="1"/>
            <c:bubble3D val="0"/>
            <c:extLst>
              <c:ext xmlns:c16="http://schemas.microsoft.com/office/drawing/2014/chart" uri="{C3380CC4-5D6E-409C-BE32-E72D297353CC}">
                <c16:uniqueId val="{00000002-2960-4508-BA80-9CD1D30EF006}"/>
              </c:ext>
            </c:extLst>
          </c:dPt>
          <c:dPt>
            <c:idx val="4"/>
            <c:invertIfNegative val="1"/>
            <c:bubble3D val="0"/>
            <c:extLst>
              <c:ext xmlns:c16="http://schemas.microsoft.com/office/drawing/2014/chart" uri="{C3380CC4-5D6E-409C-BE32-E72D297353CC}">
                <c16:uniqueId val="{00000009-A2FA-4046-9F96-F8B0F3C1321B}"/>
              </c:ext>
            </c:extLst>
          </c:dPt>
          <c:dPt>
            <c:idx val="5"/>
            <c:invertIfNegative val="1"/>
            <c:bubble3D val="0"/>
            <c:extLst>
              <c:ext xmlns:c16="http://schemas.microsoft.com/office/drawing/2014/chart" uri="{C3380CC4-5D6E-409C-BE32-E72D297353CC}">
                <c16:uniqueId val="{0000000B-A2FA-4046-9F96-F8B0F3C1321B}"/>
              </c:ext>
            </c:extLst>
          </c:dPt>
          <c:dPt>
            <c:idx val="6"/>
            <c:invertIfNegative val="1"/>
            <c:bubble3D val="0"/>
            <c:extLst>
              <c:ext xmlns:c16="http://schemas.microsoft.com/office/drawing/2014/chart" uri="{C3380CC4-5D6E-409C-BE32-E72D297353CC}">
                <c16:uniqueId val="{0000000D-A2FA-4046-9F96-F8B0F3C1321B}"/>
              </c:ext>
            </c:extLst>
          </c:dPt>
          <c:dPt>
            <c:idx val="7"/>
            <c:invertIfNegative val="1"/>
            <c:bubble3D val="0"/>
            <c:extLst>
              <c:ext xmlns:c16="http://schemas.microsoft.com/office/drawing/2014/chart" uri="{C3380CC4-5D6E-409C-BE32-E72D297353CC}">
                <c16:uniqueId val="{00000000-2960-4508-BA80-9CD1D30EF006}"/>
              </c:ext>
            </c:extLst>
          </c:dPt>
          <c:dPt>
            <c:idx val="8"/>
            <c:invertIfNegative val="1"/>
            <c:bubble3D val="0"/>
            <c:extLst>
              <c:ext xmlns:c16="http://schemas.microsoft.com/office/drawing/2014/chart" uri="{C3380CC4-5D6E-409C-BE32-E72D297353CC}">
                <c16:uniqueId val="{00000011-A2FA-4046-9F96-F8B0F3C1321B}"/>
              </c:ext>
            </c:extLst>
          </c:dPt>
          <c:dPt>
            <c:idx val="9"/>
            <c:invertIfNegative val="1"/>
            <c:bubble3D val="0"/>
            <c:extLst>
              <c:ext xmlns:c16="http://schemas.microsoft.com/office/drawing/2014/chart" uri="{C3380CC4-5D6E-409C-BE32-E72D297353CC}">
                <c16:uniqueId val="{00000013-A2FA-4046-9F96-F8B0F3C1321B}"/>
              </c:ext>
            </c:extLst>
          </c:dPt>
          <c:dPt>
            <c:idx val="10"/>
            <c:invertIfNegative val="1"/>
            <c:bubble3D val="0"/>
            <c:extLst>
              <c:ext xmlns:c16="http://schemas.microsoft.com/office/drawing/2014/chart" uri="{C3380CC4-5D6E-409C-BE32-E72D297353CC}">
                <c16:uniqueId val="{00000015-A2FA-4046-9F96-F8B0F3C1321B}"/>
              </c:ext>
            </c:extLst>
          </c:dPt>
          <c:dPt>
            <c:idx val="11"/>
            <c:invertIfNegative val="1"/>
            <c:bubble3D val="0"/>
            <c:extLst>
              <c:ext xmlns:c16="http://schemas.microsoft.com/office/drawing/2014/chart" uri="{C3380CC4-5D6E-409C-BE32-E72D297353CC}">
                <c16:uniqueId val="{00000017-A2FA-4046-9F96-F8B0F3C1321B}"/>
              </c:ext>
            </c:extLst>
          </c:dPt>
          <c:dPt>
            <c:idx val="12"/>
            <c:invertIfNegative val="1"/>
            <c:bubble3D val="0"/>
            <c:extLst>
              <c:ext xmlns:c16="http://schemas.microsoft.com/office/drawing/2014/chart" uri="{C3380CC4-5D6E-409C-BE32-E72D297353CC}">
                <c16:uniqueId val="{00000019-A2FA-4046-9F96-F8B0F3C1321B}"/>
              </c:ext>
            </c:extLst>
          </c:dPt>
          <c:dPt>
            <c:idx val="13"/>
            <c:invertIfNegative val="1"/>
            <c:bubble3D val="0"/>
            <c:extLst>
              <c:ext xmlns:c16="http://schemas.microsoft.com/office/drawing/2014/chart" uri="{C3380CC4-5D6E-409C-BE32-E72D297353CC}">
                <c16:uniqueId val="{0000001B-A2FA-4046-9F96-F8B0F3C1321B}"/>
              </c:ext>
            </c:extLst>
          </c:dPt>
          <c:dPt>
            <c:idx val="14"/>
            <c:invertIfNegative val="1"/>
            <c:bubble3D val="0"/>
            <c:extLst>
              <c:ext xmlns:c16="http://schemas.microsoft.com/office/drawing/2014/chart" uri="{C3380CC4-5D6E-409C-BE32-E72D297353CC}">
                <c16:uniqueId val="{0000001D-A2FA-4046-9F96-F8B0F3C1321B}"/>
              </c:ext>
            </c:extLst>
          </c:dPt>
          <c:dPt>
            <c:idx val="15"/>
            <c:invertIfNegative val="1"/>
            <c:bubble3D val="0"/>
            <c:extLst>
              <c:ext xmlns:c16="http://schemas.microsoft.com/office/drawing/2014/chart" uri="{C3380CC4-5D6E-409C-BE32-E72D297353CC}">
                <c16:uniqueId val="{0000001F-A2FA-4046-9F96-F8B0F3C1321B}"/>
              </c:ext>
            </c:extLst>
          </c:dPt>
          <c:dPt>
            <c:idx val="16"/>
            <c:invertIfNegative val="1"/>
            <c:bubble3D val="0"/>
            <c:extLst>
              <c:ext xmlns:c16="http://schemas.microsoft.com/office/drawing/2014/chart" uri="{C3380CC4-5D6E-409C-BE32-E72D297353CC}">
                <c16:uniqueId val="{00000021-A2FA-4046-9F96-F8B0F3C1321B}"/>
              </c:ext>
            </c:extLst>
          </c:dPt>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25.6%</a:t>
                    </a:r>
                  </a:p>
                </c:rich>
              </c:tx>
              <c:dLblPos val="ctr"/>
              <c:showLegendKey val="0"/>
              <c:showVal val="1"/>
              <c:showCatName val="0"/>
              <c:showSerName val="0"/>
              <c:showPercent val="0"/>
              <c:showBubbleSize val="0"/>
            </c:dLbl>
            <c:dLbl>
              <c:idx val="2"/>
              <c:tx>
                <c:rich>
                  <a:bodyPr/>
                  <a:lstStyle/>
                  <a:p>
                    <a:pPr>
                      <a:defRPr sz="800">
                        <a:latin typeface="Nexa Book"/>
                      </a:defRPr>
                    </a:pPr>
                    <a:r>
                      <a:t>+20.0%</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0.0</c:v>
                </c:pt>
                <c:pt idx="1">
                  <c:v>0.25589999999999996</c:v>
                </c:pt>
                <c:pt idx="2">
                  <c:v>0.1998</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0-DCEF-4AAE-B747-39856A6177F4}"/>
              </c:ext>
            </c:extLst>
          </c:dPt>
          <c:dPt>
            <c:idx val="1"/>
            <c:invertIfNegative val="1"/>
            <c:bubble3D val="0"/>
            <c:extLst>
              <c:ext xmlns:c16="http://schemas.microsoft.com/office/drawing/2014/chart" uri="{C3380CC4-5D6E-409C-BE32-E72D297353CC}">
                <c16:uniqueId val="{00000003-ECF2-4774-A9B3-59BCC6837E98}"/>
              </c:ext>
            </c:extLst>
          </c:dPt>
          <c:dPt>
            <c:idx val="2"/>
            <c:invertIfNegative val="1"/>
            <c:bubble3D val="0"/>
            <c:extLst>
              <c:ext xmlns:c16="http://schemas.microsoft.com/office/drawing/2014/chart" uri="{C3380CC4-5D6E-409C-BE32-E72D297353CC}">
                <c16:uniqueId val="{00000005-ECF2-4774-A9B3-59BCC6837E98}"/>
              </c:ext>
            </c:extLst>
          </c:dPt>
          <c:dPt>
            <c:idx val="3"/>
            <c:invertIfNegative val="1"/>
            <c:bubble3D val="0"/>
            <c:extLst>
              <c:ext xmlns:c16="http://schemas.microsoft.com/office/drawing/2014/chart" uri="{C3380CC4-5D6E-409C-BE32-E72D297353CC}">
                <c16:uniqueId val="{00000001-DCEF-4AAE-B747-39856A6177F4}"/>
              </c:ext>
            </c:extLst>
          </c:dPt>
          <c:dPt>
            <c:idx val="4"/>
            <c:invertIfNegative val="1"/>
            <c:bubble3D val="0"/>
            <c:extLst>
              <c:ext xmlns:c16="http://schemas.microsoft.com/office/drawing/2014/chart" uri="{C3380CC4-5D6E-409C-BE32-E72D297353CC}">
                <c16:uniqueId val="{00000009-ECF2-4774-A9B3-59BCC6837E98}"/>
              </c:ext>
            </c:extLst>
          </c:dPt>
          <c:dPt>
            <c:idx val="5"/>
            <c:invertIfNegative val="1"/>
            <c:bubble3D val="0"/>
            <c:extLst>
              <c:ext xmlns:c16="http://schemas.microsoft.com/office/drawing/2014/chart" uri="{C3380CC4-5D6E-409C-BE32-E72D297353CC}">
                <c16:uniqueId val="{0000000B-ECF2-4774-A9B3-59BCC6837E98}"/>
              </c:ext>
            </c:extLst>
          </c:dPt>
          <c:dPt>
            <c:idx val="6"/>
            <c:invertIfNegative val="1"/>
            <c:bubble3D val="0"/>
            <c:extLst>
              <c:ext xmlns:c16="http://schemas.microsoft.com/office/drawing/2014/chart" uri="{C3380CC4-5D6E-409C-BE32-E72D297353CC}">
                <c16:uniqueId val="{0000000D-ECF2-4774-A9B3-59BCC6837E98}"/>
              </c:ext>
            </c:extLst>
          </c:dPt>
          <c:dPt>
            <c:idx val="7"/>
            <c:invertIfNegative val="1"/>
            <c:bubble3D val="0"/>
            <c:extLst>
              <c:ext xmlns:c16="http://schemas.microsoft.com/office/drawing/2014/chart" uri="{C3380CC4-5D6E-409C-BE32-E72D297353CC}">
                <c16:uniqueId val="{00000002-DCEF-4AAE-B747-39856A6177F4}"/>
              </c:ext>
            </c:extLst>
          </c:dPt>
          <c:dPt>
            <c:idx val="8"/>
            <c:invertIfNegative val="1"/>
            <c:bubble3D val="0"/>
            <c:extLst>
              <c:ext xmlns:c16="http://schemas.microsoft.com/office/drawing/2014/chart" uri="{C3380CC4-5D6E-409C-BE32-E72D297353CC}">
                <c16:uniqueId val="{00000011-ECF2-4774-A9B3-59BCC6837E98}"/>
              </c:ext>
            </c:extLst>
          </c:dPt>
          <c:dPt>
            <c:idx val="9"/>
            <c:invertIfNegative val="1"/>
            <c:bubble3D val="0"/>
            <c:extLst>
              <c:ext xmlns:c16="http://schemas.microsoft.com/office/drawing/2014/chart" uri="{C3380CC4-5D6E-409C-BE32-E72D297353CC}">
                <c16:uniqueId val="{00000013-ECF2-4774-A9B3-59BCC6837E98}"/>
              </c:ext>
            </c:extLst>
          </c:dPt>
          <c:dPt>
            <c:idx val="10"/>
            <c:invertIfNegative val="1"/>
            <c:bubble3D val="0"/>
            <c:extLst>
              <c:ext xmlns:c16="http://schemas.microsoft.com/office/drawing/2014/chart" uri="{C3380CC4-5D6E-409C-BE32-E72D297353CC}">
                <c16:uniqueId val="{00000015-ECF2-4774-A9B3-59BCC6837E98}"/>
              </c:ext>
            </c:extLst>
          </c:dPt>
          <c:dPt>
            <c:idx val="11"/>
            <c:invertIfNegative val="1"/>
            <c:bubble3D val="0"/>
            <c:extLst>
              <c:ext xmlns:c16="http://schemas.microsoft.com/office/drawing/2014/chart" uri="{C3380CC4-5D6E-409C-BE32-E72D297353CC}">
                <c16:uniqueId val="{00000017-ECF2-4774-A9B3-59BCC6837E98}"/>
              </c:ext>
            </c:extLst>
          </c:dPt>
          <c:dPt>
            <c:idx val="12"/>
            <c:invertIfNegative val="1"/>
            <c:bubble3D val="0"/>
            <c:extLst>
              <c:ext xmlns:c16="http://schemas.microsoft.com/office/drawing/2014/chart" uri="{C3380CC4-5D6E-409C-BE32-E72D297353CC}">
                <c16:uniqueId val="{00000019-ECF2-4774-A9B3-59BCC6837E98}"/>
              </c:ext>
            </c:extLst>
          </c:dPt>
          <c:dPt>
            <c:idx val="13"/>
            <c:invertIfNegative val="1"/>
            <c:bubble3D val="0"/>
            <c:extLst>
              <c:ext xmlns:c16="http://schemas.microsoft.com/office/drawing/2014/chart" uri="{C3380CC4-5D6E-409C-BE32-E72D297353CC}">
                <c16:uniqueId val="{0000001B-ECF2-4774-A9B3-59BCC6837E98}"/>
              </c:ext>
            </c:extLst>
          </c:dPt>
          <c:dPt>
            <c:idx val="14"/>
            <c:invertIfNegative val="1"/>
            <c:bubble3D val="0"/>
            <c:extLst>
              <c:ext xmlns:c16="http://schemas.microsoft.com/office/drawing/2014/chart" uri="{C3380CC4-5D6E-409C-BE32-E72D297353CC}">
                <c16:uniqueId val="{0000001D-ECF2-4774-A9B3-59BCC6837E98}"/>
              </c:ext>
            </c:extLst>
          </c:dPt>
          <c:dPt>
            <c:idx val="15"/>
            <c:invertIfNegative val="1"/>
            <c:bubble3D val="0"/>
            <c:extLst>
              <c:ext xmlns:c16="http://schemas.microsoft.com/office/drawing/2014/chart" uri="{C3380CC4-5D6E-409C-BE32-E72D297353CC}">
                <c16:uniqueId val="{0000001F-ECF2-4774-A9B3-59BCC6837E98}"/>
              </c:ext>
            </c:extLst>
          </c:dPt>
          <c:dPt>
            <c:idx val="16"/>
            <c:invertIfNegative val="1"/>
            <c:bubble3D val="0"/>
            <c:extLst>
              <c:ext xmlns:c16="http://schemas.microsoft.com/office/drawing/2014/chart" uri="{C3380CC4-5D6E-409C-BE32-E72D297353CC}">
                <c16:uniqueId val="{00000021-ECF2-4774-A9B3-59BCC6837E98}"/>
              </c:ext>
            </c:extLst>
          </c:dPt>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22.3%</a:t>
                    </a:r>
                  </a:p>
                </c:rich>
              </c:tx>
              <c:dLblPos val="ctr"/>
              <c:showLegendKey val="0"/>
              <c:showVal val="1"/>
              <c:showCatName val="0"/>
              <c:showSerName val="0"/>
              <c:showPercent val="0"/>
              <c:showBubbleSize val="0"/>
            </c:dLbl>
            <c:dLbl>
              <c:idx val="2"/>
              <c:tx>
                <c:rich>
                  <a:bodyPr/>
                  <a:lstStyle/>
                  <a:p>
                    <a:pPr>
                      <a:defRPr sz="800">
                        <a:latin typeface="Nexa Book"/>
                      </a:defRPr>
                    </a:pPr>
                    <a:r>
                      <a:t>+17.9%</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0.0</c:v>
                </c:pt>
                <c:pt idx="1">
                  <c:v>0.22310000000000002</c:v>
                </c:pt>
                <c:pt idx="2">
                  <c:v>0.17930000000000001</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55.9 %</a:t>
                    </a:r>
                  </a:p>
                </c:rich>
              </c:tx>
              <c:dLblPos val="ctr"/>
              <c:showLegendKey val="0"/>
              <c:showVal val="1"/>
              <c:showCatName val="0"/>
              <c:showSerName val="0"/>
              <c:showPercent val="0"/>
              <c:showBubbleSize val="0"/>
            </c:dLbl>
            <c:dLbl>
              <c:idx val="2"/>
              <c:tx>
                <c:rich>
                  <a:bodyPr/>
                  <a:lstStyle/>
                  <a:p>
                    <a:pPr>
                      <a:defRPr sz="800">
                        <a:latin typeface="Nexa Book"/>
                      </a:defRPr>
                    </a:pPr>
                    <a:r>
                      <a:t>44.1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1.0</c:v>
                </c:pt>
                <c:pt idx="1">
                  <c:v>0.5586</c:v>
                </c:pt>
                <c:pt idx="2">
                  <c:v>0.441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54.4 %</a:t>
                    </a:r>
                  </a:p>
                </c:rich>
              </c:tx>
              <c:dLblPos val="ctr"/>
              <c:showLegendKey val="0"/>
              <c:showVal val="1"/>
              <c:showCatName val="0"/>
              <c:showSerName val="0"/>
              <c:showPercent val="0"/>
              <c:showBubbleSize val="0"/>
            </c:dLbl>
            <c:dLbl>
              <c:idx val="2"/>
              <c:tx>
                <c:rich>
                  <a:bodyPr/>
                  <a:lstStyle/>
                  <a:p>
                    <a:pPr>
                      <a:defRPr sz="800">
                        <a:latin typeface="Nexa Book"/>
                      </a:defRPr>
                    </a:pPr>
                    <a:r>
                      <a:t>45.6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1.0</c:v>
                </c:pt>
                <c:pt idx="1">
                  <c:v>0.5437</c:v>
                </c:pt>
                <c:pt idx="2">
                  <c:v>0.456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417</a:t>
                    </a:r>
                  </a:p>
                </c:rich>
              </c:tx>
              <c:dLblPos val="ctr"/>
              <c:showLegendKey val="0"/>
              <c:showVal val="1"/>
              <c:showCatName val="0"/>
              <c:showSerName val="0"/>
              <c:showPercent val="0"/>
              <c:showBubbleSize val="0"/>
            </c:dLbl>
            <c:dLbl>
              <c:idx val="1"/>
              <c:tx>
                <c:rich>
                  <a:bodyPr/>
                  <a:lstStyle/>
                  <a:p>
                    <a:pPr>
                      <a:defRPr sz="800">
                        <a:latin typeface="Nexa Book"/>
                      </a:defRPr>
                    </a:pPr>
                    <a:r>
                      <a:t>233</a:t>
                    </a:r>
                  </a:p>
                </c:rich>
              </c:tx>
              <c:dLblPos val="ctr"/>
              <c:showLegendKey val="0"/>
              <c:showVal val="1"/>
              <c:showCatName val="0"/>
              <c:showSerName val="0"/>
              <c:showPercent val="0"/>
              <c:showBubbleSize val="0"/>
            </c:dLbl>
            <c:dLbl>
              <c:idx val="2"/>
              <c:tx>
                <c:rich>
                  <a:bodyPr/>
                  <a:lstStyle/>
                  <a:p>
                    <a:pPr>
                      <a:defRPr sz="800">
                        <a:latin typeface="Nexa Book"/>
                      </a:defRPr>
                    </a:pPr>
                    <a:r>
                      <a:t>184</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417337362.0</c:v>
                </c:pt>
                <c:pt idx="1">
                  <c:v>233135746.0</c:v>
                </c:pt>
                <c:pt idx="2">
                  <c:v>184201616.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12</a:t>
                    </a:r>
                  </a:p>
                </c:rich>
              </c:tx>
              <c:dLblPos val="ctr"/>
              <c:showLegendKey val="0"/>
              <c:showVal val="1"/>
              <c:showCatName val="0"/>
              <c:showSerName val="0"/>
              <c:showPercent val="0"/>
              <c:showBubbleSize val="0"/>
            </c:dLbl>
            <c:dLbl>
              <c:idx val="1"/>
              <c:tx>
                <c:rich>
                  <a:bodyPr/>
                  <a:lstStyle/>
                  <a:p>
                    <a:pPr>
                      <a:defRPr sz="800">
                        <a:latin typeface="Nexa Book"/>
                      </a:defRPr>
                    </a:pPr>
                    <a:r>
                      <a:t>7</a:t>
                    </a:r>
                  </a:p>
                </c:rich>
              </c:tx>
              <c:dLblPos val="ctr"/>
              <c:showLegendKey val="0"/>
              <c:showVal val="1"/>
              <c:showCatName val="0"/>
              <c:showSerName val="0"/>
              <c:showPercent val="0"/>
              <c:showBubbleSize val="0"/>
            </c:dLbl>
            <c:dLbl>
              <c:idx val="2"/>
              <c:tx>
                <c:rich>
                  <a:bodyPr/>
                  <a:lstStyle/>
                  <a:p>
                    <a:pPr>
                      <a:defRPr sz="800">
                        <a:latin typeface="Nexa Book"/>
                      </a:defRPr>
                    </a:pPr>
                    <a:r>
                      <a:t>6</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12399734.0</c:v>
                </c:pt>
                <c:pt idx="1">
                  <c:v>6741136.0</c:v>
                </c:pt>
                <c:pt idx="2">
                  <c:v>5658598.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1-2960-4508-BA80-9CD1D30EF006}"/>
              </c:ext>
            </c:extLst>
          </c:dPt>
          <c:dPt>
            <c:idx val="1"/>
            <c:invertIfNegative val="1"/>
            <c:bubble3D val="0"/>
            <c:extLst>
              <c:ext xmlns:c16="http://schemas.microsoft.com/office/drawing/2014/chart" uri="{C3380CC4-5D6E-409C-BE32-E72D297353CC}">
                <c16:uniqueId val="{00000003-A2FA-4046-9F96-F8B0F3C1321B}"/>
              </c:ext>
            </c:extLst>
          </c:dPt>
          <c:dPt>
            <c:idx val="2"/>
            <c:invertIfNegative val="1"/>
            <c:bubble3D val="0"/>
            <c:extLst>
              <c:ext xmlns:c16="http://schemas.microsoft.com/office/drawing/2014/chart" uri="{C3380CC4-5D6E-409C-BE32-E72D297353CC}">
                <c16:uniqueId val="{00000005-A2FA-4046-9F96-F8B0F3C1321B}"/>
              </c:ext>
            </c:extLst>
          </c:dPt>
          <c:dPt>
            <c:idx val="3"/>
            <c:invertIfNegative val="1"/>
            <c:bubble3D val="0"/>
            <c:extLst>
              <c:ext xmlns:c16="http://schemas.microsoft.com/office/drawing/2014/chart" uri="{C3380CC4-5D6E-409C-BE32-E72D297353CC}">
                <c16:uniqueId val="{00000002-2960-4508-BA80-9CD1D30EF006}"/>
              </c:ext>
            </c:extLst>
          </c:dPt>
          <c:dPt>
            <c:idx val="4"/>
            <c:invertIfNegative val="1"/>
            <c:bubble3D val="0"/>
            <c:extLst>
              <c:ext xmlns:c16="http://schemas.microsoft.com/office/drawing/2014/chart" uri="{C3380CC4-5D6E-409C-BE32-E72D297353CC}">
                <c16:uniqueId val="{00000009-A2FA-4046-9F96-F8B0F3C1321B}"/>
              </c:ext>
            </c:extLst>
          </c:dPt>
          <c:dPt>
            <c:idx val="5"/>
            <c:invertIfNegative val="1"/>
            <c:bubble3D val="0"/>
            <c:extLst>
              <c:ext xmlns:c16="http://schemas.microsoft.com/office/drawing/2014/chart" uri="{C3380CC4-5D6E-409C-BE32-E72D297353CC}">
                <c16:uniqueId val="{0000000B-A2FA-4046-9F96-F8B0F3C1321B}"/>
              </c:ext>
            </c:extLst>
          </c:dPt>
          <c:dPt>
            <c:idx val="6"/>
            <c:invertIfNegative val="1"/>
            <c:bubble3D val="0"/>
            <c:extLst>
              <c:ext xmlns:c16="http://schemas.microsoft.com/office/drawing/2014/chart" uri="{C3380CC4-5D6E-409C-BE32-E72D297353CC}">
                <c16:uniqueId val="{0000000D-A2FA-4046-9F96-F8B0F3C1321B}"/>
              </c:ext>
            </c:extLst>
          </c:dPt>
          <c:dPt>
            <c:idx val="7"/>
            <c:invertIfNegative val="1"/>
            <c:bubble3D val="0"/>
            <c:extLst>
              <c:ext xmlns:c16="http://schemas.microsoft.com/office/drawing/2014/chart" uri="{C3380CC4-5D6E-409C-BE32-E72D297353CC}">
                <c16:uniqueId val="{00000000-2960-4508-BA80-9CD1D30EF006}"/>
              </c:ext>
            </c:extLst>
          </c:dPt>
          <c:dPt>
            <c:idx val="8"/>
            <c:invertIfNegative val="1"/>
            <c:bubble3D val="0"/>
            <c:extLst>
              <c:ext xmlns:c16="http://schemas.microsoft.com/office/drawing/2014/chart" uri="{C3380CC4-5D6E-409C-BE32-E72D297353CC}">
                <c16:uniqueId val="{00000011-A2FA-4046-9F96-F8B0F3C1321B}"/>
              </c:ext>
            </c:extLst>
          </c:dPt>
          <c:dPt>
            <c:idx val="9"/>
            <c:invertIfNegative val="1"/>
            <c:bubble3D val="0"/>
            <c:extLst>
              <c:ext xmlns:c16="http://schemas.microsoft.com/office/drawing/2014/chart" uri="{C3380CC4-5D6E-409C-BE32-E72D297353CC}">
                <c16:uniqueId val="{00000013-A2FA-4046-9F96-F8B0F3C1321B}"/>
              </c:ext>
            </c:extLst>
          </c:dPt>
          <c:dPt>
            <c:idx val="10"/>
            <c:invertIfNegative val="1"/>
            <c:bubble3D val="0"/>
            <c:extLst>
              <c:ext xmlns:c16="http://schemas.microsoft.com/office/drawing/2014/chart" uri="{C3380CC4-5D6E-409C-BE32-E72D297353CC}">
                <c16:uniqueId val="{00000015-A2FA-4046-9F96-F8B0F3C1321B}"/>
              </c:ext>
            </c:extLst>
          </c:dPt>
          <c:dPt>
            <c:idx val="11"/>
            <c:invertIfNegative val="1"/>
            <c:bubble3D val="0"/>
            <c:extLst>
              <c:ext xmlns:c16="http://schemas.microsoft.com/office/drawing/2014/chart" uri="{C3380CC4-5D6E-409C-BE32-E72D297353CC}">
                <c16:uniqueId val="{00000017-A2FA-4046-9F96-F8B0F3C1321B}"/>
              </c:ext>
            </c:extLst>
          </c:dPt>
          <c:dPt>
            <c:idx val="12"/>
            <c:invertIfNegative val="1"/>
            <c:bubble3D val="0"/>
            <c:extLst>
              <c:ext xmlns:c16="http://schemas.microsoft.com/office/drawing/2014/chart" uri="{C3380CC4-5D6E-409C-BE32-E72D297353CC}">
                <c16:uniqueId val="{00000019-A2FA-4046-9F96-F8B0F3C1321B}"/>
              </c:ext>
            </c:extLst>
          </c:dPt>
          <c:dPt>
            <c:idx val="13"/>
            <c:invertIfNegative val="1"/>
            <c:bubble3D val="0"/>
            <c:extLst>
              <c:ext xmlns:c16="http://schemas.microsoft.com/office/drawing/2014/chart" uri="{C3380CC4-5D6E-409C-BE32-E72D297353CC}">
                <c16:uniqueId val="{0000001B-A2FA-4046-9F96-F8B0F3C1321B}"/>
              </c:ext>
            </c:extLst>
          </c:dPt>
          <c:dPt>
            <c:idx val="14"/>
            <c:invertIfNegative val="1"/>
            <c:bubble3D val="0"/>
            <c:extLst>
              <c:ext xmlns:c16="http://schemas.microsoft.com/office/drawing/2014/chart" uri="{C3380CC4-5D6E-409C-BE32-E72D297353CC}">
                <c16:uniqueId val="{0000001D-A2FA-4046-9F96-F8B0F3C1321B}"/>
              </c:ext>
            </c:extLst>
          </c:dPt>
          <c:dPt>
            <c:idx val="15"/>
            <c:invertIfNegative val="1"/>
            <c:bubble3D val="0"/>
            <c:extLst>
              <c:ext xmlns:c16="http://schemas.microsoft.com/office/drawing/2014/chart" uri="{C3380CC4-5D6E-409C-BE32-E72D297353CC}">
                <c16:uniqueId val="{0000001F-A2FA-4046-9F96-F8B0F3C1321B}"/>
              </c:ext>
            </c:extLst>
          </c:dPt>
          <c:dPt>
            <c:idx val="16"/>
            <c:invertIfNegative val="1"/>
            <c:bubble3D val="0"/>
            <c:extLst>
              <c:ext xmlns:c16="http://schemas.microsoft.com/office/drawing/2014/chart" uri="{C3380CC4-5D6E-409C-BE32-E72D297353CC}">
                <c16:uniqueId val="{00000021-A2FA-4046-9F96-F8B0F3C1321B}"/>
              </c:ext>
            </c:extLst>
          </c:dPt>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25.6%</a:t>
                    </a:r>
                  </a:p>
                </c:rich>
              </c:tx>
              <c:dLblPos val="ctr"/>
              <c:showLegendKey val="0"/>
              <c:showVal val="1"/>
              <c:showCatName val="0"/>
              <c:showSerName val="0"/>
              <c:showPercent val="0"/>
              <c:showBubbleSize val="0"/>
            </c:dLbl>
            <c:dLbl>
              <c:idx val="2"/>
              <c:tx>
                <c:rich>
                  <a:bodyPr/>
                  <a:lstStyle/>
                  <a:p>
                    <a:pPr>
                      <a:defRPr sz="800">
                        <a:latin typeface="Nexa Book"/>
                      </a:defRPr>
                    </a:pPr>
                    <a:r>
                      <a:t>+20.0%</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0.0</c:v>
                </c:pt>
                <c:pt idx="1">
                  <c:v>0.25589999999999996</c:v>
                </c:pt>
                <c:pt idx="2">
                  <c:v>0.1998</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0-DCEF-4AAE-B747-39856A6177F4}"/>
              </c:ext>
            </c:extLst>
          </c:dPt>
          <c:dPt>
            <c:idx val="1"/>
            <c:invertIfNegative val="1"/>
            <c:bubble3D val="0"/>
            <c:extLst>
              <c:ext xmlns:c16="http://schemas.microsoft.com/office/drawing/2014/chart" uri="{C3380CC4-5D6E-409C-BE32-E72D297353CC}">
                <c16:uniqueId val="{00000003-ECF2-4774-A9B3-59BCC6837E98}"/>
              </c:ext>
            </c:extLst>
          </c:dPt>
          <c:dPt>
            <c:idx val="2"/>
            <c:invertIfNegative val="1"/>
            <c:bubble3D val="0"/>
            <c:extLst>
              <c:ext xmlns:c16="http://schemas.microsoft.com/office/drawing/2014/chart" uri="{C3380CC4-5D6E-409C-BE32-E72D297353CC}">
                <c16:uniqueId val="{00000005-ECF2-4774-A9B3-59BCC6837E98}"/>
              </c:ext>
            </c:extLst>
          </c:dPt>
          <c:dPt>
            <c:idx val="3"/>
            <c:invertIfNegative val="1"/>
            <c:bubble3D val="0"/>
            <c:extLst>
              <c:ext xmlns:c16="http://schemas.microsoft.com/office/drawing/2014/chart" uri="{C3380CC4-5D6E-409C-BE32-E72D297353CC}">
                <c16:uniqueId val="{00000001-DCEF-4AAE-B747-39856A6177F4}"/>
              </c:ext>
            </c:extLst>
          </c:dPt>
          <c:dPt>
            <c:idx val="4"/>
            <c:invertIfNegative val="1"/>
            <c:bubble3D val="0"/>
            <c:extLst>
              <c:ext xmlns:c16="http://schemas.microsoft.com/office/drawing/2014/chart" uri="{C3380CC4-5D6E-409C-BE32-E72D297353CC}">
                <c16:uniqueId val="{00000009-ECF2-4774-A9B3-59BCC6837E98}"/>
              </c:ext>
            </c:extLst>
          </c:dPt>
          <c:dPt>
            <c:idx val="5"/>
            <c:invertIfNegative val="1"/>
            <c:bubble3D val="0"/>
            <c:extLst>
              <c:ext xmlns:c16="http://schemas.microsoft.com/office/drawing/2014/chart" uri="{C3380CC4-5D6E-409C-BE32-E72D297353CC}">
                <c16:uniqueId val="{0000000B-ECF2-4774-A9B3-59BCC6837E98}"/>
              </c:ext>
            </c:extLst>
          </c:dPt>
          <c:dPt>
            <c:idx val="6"/>
            <c:invertIfNegative val="1"/>
            <c:bubble3D val="0"/>
            <c:extLst>
              <c:ext xmlns:c16="http://schemas.microsoft.com/office/drawing/2014/chart" uri="{C3380CC4-5D6E-409C-BE32-E72D297353CC}">
                <c16:uniqueId val="{0000000D-ECF2-4774-A9B3-59BCC6837E98}"/>
              </c:ext>
            </c:extLst>
          </c:dPt>
          <c:dPt>
            <c:idx val="7"/>
            <c:invertIfNegative val="1"/>
            <c:bubble3D val="0"/>
            <c:extLst>
              <c:ext xmlns:c16="http://schemas.microsoft.com/office/drawing/2014/chart" uri="{C3380CC4-5D6E-409C-BE32-E72D297353CC}">
                <c16:uniqueId val="{00000002-DCEF-4AAE-B747-39856A6177F4}"/>
              </c:ext>
            </c:extLst>
          </c:dPt>
          <c:dPt>
            <c:idx val="8"/>
            <c:invertIfNegative val="1"/>
            <c:bubble3D val="0"/>
            <c:extLst>
              <c:ext xmlns:c16="http://schemas.microsoft.com/office/drawing/2014/chart" uri="{C3380CC4-5D6E-409C-BE32-E72D297353CC}">
                <c16:uniqueId val="{00000011-ECF2-4774-A9B3-59BCC6837E98}"/>
              </c:ext>
            </c:extLst>
          </c:dPt>
          <c:dPt>
            <c:idx val="9"/>
            <c:invertIfNegative val="1"/>
            <c:bubble3D val="0"/>
            <c:extLst>
              <c:ext xmlns:c16="http://schemas.microsoft.com/office/drawing/2014/chart" uri="{C3380CC4-5D6E-409C-BE32-E72D297353CC}">
                <c16:uniqueId val="{00000013-ECF2-4774-A9B3-59BCC6837E98}"/>
              </c:ext>
            </c:extLst>
          </c:dPt>
          <c:dPt>
            <c:idx val="10"/>
            <c:invertIfNegative val="1"/>
            <c:bubble3D val="0"/>
            <c:extLst>
              <c:ext xmlns:c16="http://schemas.microsoft.com/office/drawing/2014/chart" uri="{C3380CC4-5D6E-409C-BE32-E72D297353CC}">
                <c16:uniqueId val="{00000015-ECF2-4774-A9B3-59BCC6837E98}"/>
              </c:ext>
            </c:extLst>
          </c:dPt>
          <c:dPt>
            <c:idx val="11"/>
            <c:invertIfNegative val="1"/>
            <c:bubble3D val="0"/>
            <c:extLst>
              <c:ext xmlns:c16="http://schemas.microsoft.com/office/drawing/2014/chart" uri="{C3380CC4-5D6E-409C-BE32-E72D297353CC}">
                <c16:uniqueId val="{00000017-ECF2-4774-A9B3-59BCC6837E98}"/>
              </c:ext>
            </c:extLst>
          </c:dPt>
          <c:dPt>
            <c:idx val="12"/>
            <c:invertIfNegative val="1"/>
            <c:bubble3D val="0"/>
            <c:extLst>
              <c:ext xmlns:c16="http://schemas.microsoft.com/office/drawing/2014/chart" uri="{C3380CC4-5D6E-409C-BE32-E72D297353CC}">
                <c16:uniqueId val="{00000019-ECF2-4774-A9B3-59BCC6837E98}"/>
              </c:ext>
            </c:extLst>
          </c:dPt>
          <c:dPt>
            <c:idx val="13"/>
            <c:invertIfNegative val="1"/>
            <c:bubble3D val="0"/>
            <c:extLst>
              <c:ext xmlns:c16="http://schemas.microsoft.com/office/drawing/2014/chart" uri="{C3380CC4-5D6E-409C-BE32-E72D297353CC}">
                <c16:uniqueId val="{0000001B-ECF2-4774-A9B3-59BCC6837E98}"/>
              </c:ext>
            </c:extLst>
          </c:dPt>
          <c:dPt>
            <c:idx val="14"/>
            <c:invertIfNegative val="1"/>
            <c:bubble3D val="0"/>
            <c:extLst>
              <c:ext xmlns:c16="http://schemas.microsoft.com/office/drawing/2014/chart" uri="{C3380CC4-5D6E-409C-BE32-E72D297353CC}">
                <c16:uniqueId val="{0000001D-ECF2-4774-A9B3-59BCC6837E98}"/>
              </c:ext>
            </c:extLst>
          </c:dPt>
          <c:dPt>
            <c:idx val="15"/>
            <c:invertIfNegative val="1"/>
            <c:bubble3D val="0"/>
            <c:extLst>
              <c:ext xmlns:c16="http://schemas.microsoft.com/office/drawing/2014/chart" uri="{C3380CC4-5D6E-409C-BE32-E72D297353CC}">
                <c16:uniqueId val="{0000001F-ECF2-4774-A9B3-59BCC6837E98}"/>
              </c:ext>
            </c:extLst>
          </c:dPt>
          <c:dPt>
            <c:idx val="16"/>
            <c:invertIfNegative val="1"/>
            <c:bubble3D val="0"/>
            <c:extLst>
              <c:ext xmlns:c16="http://schemas.microsoft.com/office/drawing/2014/chart" uri="{C3380CC4-5D6E-409C-BE32-E72D297353CC}">
                <c16:uniqueId val="{00000021-ECF2-4774-A9B3-59BCC6837E98}"/>
              </c:ext>
            </c:extLst>
          </c:dPt>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19.6%</a:t>
                    </a:r>
                  </a:p>
                </c:rich>
              </c:tx>
              <c:dLblPos val="ctr"/>
              <c:showLegendKey val="0"/>
              <c:showVal val="1"/>
              <c:showCatName val="0"/>
              <c:showSerName val="0"/>
              <c:showPercent val="0"/>
              <c:showBubbleSize val="0"/>
            </c:dLbl>
            <c:dLbl>
              <c:idx val="2"/>
              <c:tx>
                <c:rich>
                  <a:bodyPr/>
                  <a:lstStyle/>
                  <a:p>
                    <a:pPr>
                      <a:defRPr sz="800">
                        <a:latin typeface="Nexa Book"/>
                      </a:defRPr>
                    </a:pPr>
                    <a:r>
                      <a:t>+21.3%</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0.0</c:v>
                </c:pt>
                <c:pt idx="1">
                  <c:v>0.19639999999999996</c:v>
                </c:pt>
                <c:pt idx="2">
                  <c:v>0.21259999999999998</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55.9 %</a:t>
                    </a:r>
                  </a:p>
                </c:rich>
              </c:tx>
              <c:dLblPos val="ctr"/>
              <c:showLegendKey val="0"/>
              <c:showVal val="1"/>
              <c:showCatName val="0"/>
              <c:showSerName val="0"/>
              <c:showPercent val="0"/>
              <c:showBubbleSize val="0"/>
            </c:dLbl>
            <c:dLbl>
              <c:idx val="2"/>
              <c:tx>
                <c:rich>
                  <a:bodyPr/>
                  <a:lstStyle/>
                  <a:p>
                    <a:pPr>
                      <a:defRPr sz="800">
                        <a:latin typeface="Nexa Book"/>
                      </a:defRPr>
                    </a:pPr>
                    <a:r>
                      <a:t>44.1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1.0</c:v>
                </c:pt>
                <c:pt idx="1">
                  <c:v>0.5586</c:v>
                </c:pt>
                <c:pt idx="2">
                  <c:v>0.441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04660339983711681</c:v>
                </c:pt>
                <c:pt idx="1">
                  <c:v>-0.005563767450042251</c:v>
                </c:pt>
                <c:pt idx="2">
                  <c:v>0.002483050274894663</c:v>
                </c:pt>
                <c:pt idx="3">
                  <c:v>0.0016297475034369596</c:v>
                </c:pt>
                <c:pt idx="4">
                  <c:v>-0.004192637959219078</c:v>
                </c:pt>
                <c:pt idx="5">
                  <c:v>-0.00032995391274925207</c:v>
                </c:pt>
                <c:pt idx="6">
                  <c:v>-0.005067544262083133</c:v>
                </c:pt>
                <c:pt idx="7">
                  <c:v>-0.0005447061628141431</c:v>
                </c:pt>
                <c:pt idx="8">
                  <c:v>-7.073215940060773e-05</c:v>
                </c:pt>
                <c:pt idx="9">
                  <c:v>0.006996204144265171</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49.9 %</a:t>
                    </a:r>
                  </a:p>
                </c:rich>
              </c:tx>
              <c:dLblPos val="ctr"/>
              <c:showLegendKey val="0"/>
              <c:showVal val="1"/>
              <c:showCatName val="0"/>
              <c:showSerName val="0"/>
              <c:showPercent val="0"/>
              <c:showBubbleSize val="0"/>
            </c:dLbl>
            <c:dLbl>
              <c:idx val="2"/>
              <c:tx>
                <c:rich>
                  <a:bodyPr/>
                  <a:lstStyle/>
                  <a:p>
                    <a:pPr>
                      <a:defRPr sz="800">
                        <a:latin typeface="Nexa Book"/>
                      </a:defRPr>
                    </a:pPr>
                    <a:r>
                      <a:t>50.1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1.0</c:v>
                </c:pt>
                <c:pt idx="1">
                  <c:v>0.499</c:v>
                </c:pt>
                <c:pt idx="2">
                  <c:v>0.501</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417</a:t>
                    </a:r>
                  </a:p>
                </c:rich>
              </c:tx>
              <c:dLblPos val="ctr"/>
              <c:showLegendKey val="0"/>
              <c:showVal val="1"/>
              <c:showCatName val="0"/>
              <c:showSerName val="0"/>
              <c:showPercent val="0"/>
              <c:showBubbleSize val="0"/>
            </c:dLbl>
            <c:dLbl>
              <c:idx val="1"/>
              <c:tx>
                <c:rich>
                  <a:bodyPr/>
                  <a:lstStyle/>
                  <a:p>
                    <a:pPr>
                      <a:defRPr sz="800">
                        <a:latin typeface="Nexa Book"/>
                      </a:defRPr>
                    </a:pPr>
                    <a:r>
                      <a:t>233</a:t>
                    </a:r>
                  </a:p>
                </c:rich>
              </c:tx>
              <c:dLblPos val="ctr"/>
              <c:showLegendKey val="0"/>
              <c:showVal val="1"/>
              <c:showCatName val="0"/>
              <c:showSerName val="0"/>
              <c:showPercent val="0"/>
              <c:showBubbleSize val="0"/>
            </c:dLbl>
            <c:dLbl>
              <c:idx val="2"/>
              <c:tx>
                <c:rich>
                  <a:bodyPr/>
                  <a:lstStyle/>
                  <a:p>
                    <a:pPr>
                      <a:defRPr sz="800">
                        <a:latin typeface="Nexa Book"/>
                      </a:defRPr>
                    </a:pPr>
                    <a:r>
                      <a:t>184</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417337362.0</c:v>
                </c:pt>
                <c:pt idx="1">
                  <c:v>233135746.0</c:v>
                </c:pt>
                <c:pt idx="2">
                  <c:v>184201616.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11</a:t>
                    </a:r>
                  </a:p>
                </c:rich>
              </c:tx>
              <c:dLblPos val="ctr"/>
              <c:showLegendKey val="0"/>
              <c:showVal val="1"/>
              <c:showCatName val="0"/>
              <c:showSerName val="0"/>
              <c:showPercent val="0"/>
              <c:showBubbleSize val="0"/>
            </c:dLbl>
            <c:dLbl>
              <c:idx val="1"/>
              <c:tx>
                <c:rich>
                  <a:bodyPr/>
                  <a:lstStyle/>
                  <a:p>
                    <a:pPr>
                      <a:defRPr sz="800">
                        <a:latin typeface="Nexa Book"/>
                      </a:defRPr>
                    </a:pPr>
                    <a:r>
                      <a:t>5</a:t>
                    </a:r>
                  </a:p>
                </c:rich>
              </c:tx>
              <c:dLblPos val="ctr"/>
              <c:showLegendKey val="0"/>
              <c:showVal val="1"/>
              <c:showCatName val="0"/>
              <c:showSerName val="0"/>
              <c:showPercent val="0"/>
              <c:showBubbleSize val="0"/>
            </c:dLbl>
            <c:dLbl>
              <c:idx val="2"/>
              <c:tx>
                <c:rich>
                  <a:bodyPr/>
                  <a:lstStyle/>
                  <a:p>
                    <a:pPr>
                      <a:defRPr sz="800">
                        <a:latin typeface="Nexa Book"/>
                      </a:defRPr>
                    </a:pPr>
                    <a:r>
                      <a:t>5</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10815339.0</c:v>
                </c:pt>
                <c:pt idx="1">
                  <c:v>5396319.0</c:v>
                </c:pt>
                <c:pt idx="2">
                  <c:v>5419020.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1-2960-4508-BA80-9CD1D30EF006}"/>
              </c:ext>
            </c:extLst>
          </c:dPt>
          <c:dPt>
            <c:idx val="1"/>
            <c:invertIfNegative val="1"/>
            <c:bubble3D val="0"/>
            <c:extLst>
              <c:ext xmlns:c16="http://schemas.microsoft.com/office/drawing/2014/chart" uri="{C3380CC4-5D6E-409C-BE32-E72D297353CC}">
                <c16:uniqueId val="{00000003-A2FA-4046-9F96-F8B0F3C1321B}"/>
              </c:ext>
            </c:extLst>
          </c:dPt>
          <c:dPt>
            <c:idx val="2"/>
            <c:invertIfNegative val="1"/>
            <c:bubble3D val="0"/>
            <c:extLst>
              <c:ext xmlns:c16="http://schemas.microsoft.com/office/drawing/2014/chart" uri="{C3380CC4-5D6E-409C-BE32-E72D297353CC}">
                <c16:uniqueId val="{00000005-A2FA-4046-9F96-F8B0F3C1321B}"/>
              </c:ext>
            </c:extLst>
          </c:dPt>
          <c:dPt>
            <c:idx val="3"/>
            <c:invertIfNegative val="1"/>
            <c:bubble3D val="0"/>
            <c:extLst>
              <c:ext xmlns:c16="http://schemas.microsoft.com/office/drawing/2014/chart" uri="{C3380CC4-5D6E-409C-BE32-E72D297353CC}">
                <c16:uniqueId val="{00000002-2960-4508-BA80-9CD1D30EF006}"/>
              </c:ext>
            </c:extLst>
          </c:dPt>
          <c:dPt>
            <c:idx val="4"/>
            <c:invertIfNegative val="1"/>
            <c:bubble3D val="0"/>
            <c:extLst>
              <c:ext xmlns:c16="http://schemas.microsoft.com/office/drawing/2014/chart" uri="{C3380CC4-5D6E-409C-BE32-E72D297353CC}">
                <c16:uniqueId val="{00000009-A2FA-4046-9F96-F8B0F3C1321B}"/>
              </c:ext>
            </c:extLst>
          </c:dPt>
          <c:dPt>
            <c:idx val="5"/>
            <c:invertIfNegative val="1"/>
            <c:bubble3D val="0"/>
            <c:extLst>
              <c:ext xmlns:c16="http://schemas.microsoft.com/office/drawing/2014/chart" uri="{C3380CC4-5D6E-409C-BE32-E72D297353CC}">
                <c16:uniqueId val="{0000000B-A2FA-4046-9F96-F8B0F3C1321B}"/>
              </c:ext>
            </c:extLst>
          </c:dPt>
          <c:dPt>
            <c:idx val="6"/>
            <c:invertIfNegative val="1"/>
            <c:bubble3D val="0"/>
            <c:extLst>
              <c:ext xmlns:c16="http://schemas.microsoft.com/office/drawing/2014/chart" uri="{C3380CC4-5D6E-409C-BE32-E72D297353CC}">
                <c16:uniqueId val="{0000000D-A2FA-4046-9F96-F8B0F3C1321B}"/>
              </c:ext>
            </c:extLst>
          </c:dPt>
          <c:dPt>
            <c:idx val="7"/>
            <c:invertIfNegative val="1"/>
            <c:bubble3D val="0"/>
            <c:extLst>
              <c:ext xmlns:c16="http://schemas.microsoft.com/office/drawing/2014/chart" uri="{C3380CC4-5D6E-409C-BE32-E72D297353CC}">
                <c16:uniqueId val="{00000000-2960-4508-BA80-9CD1D30EF006}"/>
              </c:ext>
            </c:extLst>
          </c:dPt>
          <c:dPt>
            <c:idx val="8"/>
            <c:invertIfNegative val="1"/>
            <c:bubble3D val="0"/>
            <c:extLst>
              <c:ext xmlns:c16="http://schemas.microsoft.com/office/drawing/2014/chart" uri="{C3380CC4-5D6E-409C-BE32-E72D297353CC}">
                <c16:uniqueId val="{00000011-A2FA-4046-9F96-F8B0F3C1321B}"/>
              </c:ext>
            </c:extLst>
          </c:dPt>
          <c:dPt>
            <c:idx val="9"/>
            <c:invertIfNegative val="1"/>
            <c:bubble3D val="0"/>
            <c:extLst>
              <c:ext xmlns:c16="http://schemas.microsoft.com/office/drawing/2014/chart" uri="{C3380CC4-5D6E-409C-BE32-E72D297353CC}">
                <c16:uniqueId val="{00000013-A2FA-4046-9F96-F8B0F3C1321B}"/>
              </c:ext>
            </c:extLst>
          </c:dPt>
          <c:dPt>
            <c:idx val="10"/>
            <c:invertIfNegative val="1"/>
            <c:bubble3D val="0"/>
            <c:extLst>
              <c:ext xmlns:c16="http://schemas.microsoft.com/office/drawing/2014/chart" uri="{C3380CC4-5D6E-409C-BE32-E72D297353CC}">
                <c16:uniqueId val="{00000015-A2FA-4046-9F96-F8B0F3C1321B}"/>
              </c:ext>
            </c:extLst>
          </c:dPt>
          <c:dPt>
            <c:idx val="11"/>
            <c:invertIfNegative val="1"/>
            <c:bubble3D val="0"/>
            <c:extLst>
              <c:ext xmlns:c16="http://schemas.microsoft.com/office/drawing/2014/chart" uri="{C3380CC4-5D6E-409C-BE32-E72D297353CC}">
                <c16:uniqueId val="{00000017-A2FA-4046-9F96-F8B0F3C1321B}"/>
              </c:ext>
            </c:extLst>
          </c:dPt>
          <c:dPt>
            <c:idx val="12"/>
            <c:invertIfNegative val="1"/>
            <c:bubble3D val="0"/>
            <c:extLst>
              <c:ext xmlns:c16="http://schemas.microsoft.com/office/drawing/2014/chart" uri="{C3380CC4-5D6E-409C-BE32-E72D297353CC}">
                <c16:uniqueId val="{00000019-A2FA-4046-9F96-F8B0F3C1321B}"/>
              </c:ext>
            </c:extLst>
          </c:dPt>
          <c:dPt>
            <c:idx val="13"/>
            <c:invertIfNegative val="1"/>
            <c:bubble3D val="0"/>
            <c:extLst>
              <c:ext xmlns:c16="http://schemas.microsoft.com/office/drawing/2014/chart" uri="{C3380CC4-5D6E-409C-BE32-E72D297353CC}">
                <c16:uniqueId val="{0000001B-A2FA-4046-9F96-F8B0F3C1321B}"/>
              </c:ext>
            </c:extLst>
          </c:dPt>
          <c:dPt>
            <c:idx val="14"/>
            <c:invertIfNegative val="1"/>
            <c:bubble3D val="0"/>
            <c:extLst>
              <c:ext xmlns:c16="http://schemas.microsoft.com/office/drawing/2014/chart" uri="{C3380CC4-5D6E-409C-BE32-E72D297353CC}">
                <c16:uniqueId val="{0000001D-A2FA-4046-9F96-F8B0F3C1321B}"/>
              </c:ext>
            </c:extLst>
          </c:dPt>
          <c:dPt>
            <c:idx val="15"/>
            <c:invertIfNegative val="1"/>
            <c:bubble3D val="0"/>
            <c:extLst>
              <c:ext xmlns:c16="http://schemas.microsoft.com/office/drawing/2014/chart" uri="{C3380CC4-5D6E-409C-BE32-E72D297353CC}">
                <c16:uniqueId val="{0000001F-A2FA-4046-9F96-F8B0F3C1321B}"/>
              </c:ext>
            </c:extLst>
          </c:dPt>
          <c:dPt>
            <c:idx val="16"/>
            <c:invertIfNegative val="1"/>
            <c:bubble3D val="0"/>
            <c:extLst>
              <c:ext xmlns:c16="http://schemas.microsoft.com/office/drawing/2014/chart" uri="{C3380CC4-5D6E-409C-BE32-E72D297353CC}">
                <c16:uniqueId val="{00000021-A2FA-4046-9F96-F8B0F3C1321B}"/>
              </c:ext>
            </c:extLst>
          </c:dPt>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25.6%</a:t>
                    </a:r>
                  </a:p>
                </c:rich>
              </c:tx>
              <c:dLblPos val="ctr"/>
              <c:showLegendKey val="0"/>
              <c:showVal val="1"/>
              <c:showCatName val="0"/>
              <c:showSerName val="0"/>
              <c:showPercent val="0"/>
              <c:showBubbleSize val="0"/>
            </c:dLbl>
            <c:dLbl>
              <c:idx val="2"/>
              <c:tx>
                <c:rich>
                  <a:bodyPr/>
                  <a:lstStyle/>
                  <a:p>
                    <a:pPr>
                      <a:defRPr sz="800">
                        <a:latin typeface="Nexa Book"/>
                      </a:defRPr>
                    </a:pPr>
                    <a:r>
                      <a:t>+20.0%</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0.0</c:v>
                </c:pt>
                <c:pt idx="1">
                  <c:v>0.25589999999999996</c:v>
                </c:pt>
                <c:pt idx="2">
                  <c:v>0.1998</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0-DCEF-4AAE-B747-39856A6177F4}"/>
              </c:ext>
            </c:extLst>
          </c:dPt>
          <c:dPt>
            <c:idx val="1"/>
            <c:invertIfNegative val="1"/>
            <c:bubble3D val="0"/>
            <c:extLst>
              <c:ext xmlns:c16="http://schemas.microsoft.com/office/drawing/2014/chart" uri="{C3380CC4-5D6E-409C-BE32-E72D297353CC}">
                <c16:uniqueId val="{00000003-ECF2-4774-A9B3-59BCC6837E98}"/>
              </c:ext>
            </c:extLst>
          </c:dPt>
          <c:dPt>
            <c:idx val="2"/>
            <c:invertIfNegative val="1"/>
            <c:bubble3D val="0"/>
            <c:extLst>
              <c:ext xmlns:c16="http://schemas.microsoft.com/office/drawing/2014/chart" uri="{C3380CC4-5D6E-409C-BE32-E72D297353CC}">
                <c16:uniqueId val="{00000005-ECF2-4774-A9B3-59BCC6837E98}"/>
              </c:ext>
            </c:extLst>
          </c:dPt>
          <c:dPt>
            <c:idx val="3"/>
            <c:invertIfNegative val="1"/>
            <c:bubble3D val="0"/>
            <c:extLst>
              <c:ext xmlns:c16="http://schemas.microsoft.com/office/drawing/2014/chart" uri="{C3380CC4-5D6E-409C-BE32-E72D297353CC}">
                <c16:uniqueId val="{00000001-DCEF-4AAE-B747-39856A6177F4}"/>
              </c:ext>
            </c:extLst>
          </c:dPt>
          <c:dPt>
            <c:idx val="4"/>
            <c:invertIfNegative val="1"/>
            <c:bubble3D val="0"/>
            <c:extLst>
              <c:ext xmlns:c16="http://schemas.microsoft.com/office/drawing/2014/chart" uri="{C3380CC4-5D6E-409C-BE32-E72D297353CC}">
                <c16:uniqueId val="{00000009-ECF2-4774-A9B3-59BCC6837E98}"/>
              </c:ext>
            </c:extLst>
          </c:dPt>
          <c:dPt>
            <c:idx val="5"/>
            <c:invertIfNegative val="1"/>
            <c:bubble3D val="0"/>
            <c:extLst>
              <c:ext xmlns:c16="http://schemas.microsoft.com/office/drawing/2014/chart" uri="{C3380CC4-5D6E-409C-BE32-E72D297353CC}">
                <c16:uniqueId val="{0000000B-ECF2-4774-A9B3-59BCC6837E98}"/>
              </c:ext>
            </c:extLst>
          </c:dPt>
          <c:dPt>
            <c:idx val="6"/>
            <c:invertIfNegative val="1"/>
            <c:bubble3D val="0"/>
            <c:extLst>
              <c:ext xmlns:c16="http://schemas.microsoft.com/office/drawing/2014/chart" uri="{C3380CC4-5D6E-409C-BE32-E72D297353CC}">
                <c16:uniqueId val="{0000000D-ECF2-4774-A9B3-59BCC6837E98}"/>
              </c:ext>
            </c:extLst>
          </c:dPt>
          <c:dPt>
            <c:idx val="7"/>
            <c:invertIfNegative val="1"/>
            <c:bubble3D val="0"/>
            <c:extLst>
              <c:ext xmlns:c16="http://schemas.microsoft.com/office/drawing/2014/chart" uri="{C3380CC4-5D6E-409C-BE32-E72D297353CC}">
                <c16:uniqueId val="{00000002-DCEF-4AAE-B747-39856A6177F4}"/>
              </c:ext>
            </c:extLst>
          </c:dPt>
          <c:dPt>
            <c:idx val="8"/>
            <c:invertIfNegative val="1"/>
            <c:bubble3D val="0"/>
            <c:extLst>
              <c:ext xmlns:c16="http://schemas.microsoft.com/office/drawing/2014/chart" uri="{C3380CC4-5D6E-409C-BE32-E72D297353CC}">
                <c16:uniqueId val="{00000011-ECF2-4774-A9B3-59BCC6837E98}"/>
              </c:ext>
            </c:extLst>
          </c:dPt>
          <c:dPt>
            <c:idx val="9"/>
            <c:invertIfNegative val="1"/>
            <c:bubble3D val="0"/>
            <c:extLst>
              <c:ext xmlns:c16="http://schemas.microsoft.com/office/drawing/2014/chart" uri="{C3380CC4-5D6E-409C-BE32-E72D297353CC}">
                <c16:uniqueId val="{00000013-ECF2-4774-A9B3-59BCC6837E98}"/>
              </c:ext>
            </c:extLst>
          </c:dPt>
          <c:dPt>
            <c:idx val="10"/>
            <c:invertIfNegative val="1"/>
            <c:bubble3D val="0"/>
            <c:extLst>
              <c:ext xmlns:c16="http://schemas.microsoft.com/office/drawing/2014/chart" uri="{C3380CC4-5D6E-409C-BE32-E72D297353CC}">
                <c16:uniqueId val="{00000015-ECF2-4774-A9B3-59BCC6837E98}"/>
              </c:ext>
            </c:extLst>
          </c:dPt>
          <c:dPt>
            <c:idx val="11"/>
            <c:invertIfNegative val="1"/>
            <c:bubble3D val="0"/>
            <c:extLst>
              <c:ext xmlns:c16="http://schemas.microsoft.com/office/drawing/2014/chart" uri="{C3380CC4-5D6E-409C-BE32-E72D297353CC}">
                <c16:uniqueId val="{00000017-ECF2-4774-A9B3-59BCC6837E98}"/>
              </c:ext>
            </c:extLst>
          </c:dPt>
          <c:dPt>
            <c:idx val="12"/>
            <c:invertIfNegative val="1"/>
            <c:bubble3D val="0"/>
            <c:extLst>
              <c:ext xmlns:c16="http://schemas.microsoft.com/office/drawing/2014/chart" uri="{C3380CC4-5D6E-409C-BE32-E72D297353CC}">
                <c16:uniqueId val="{00000019-ECF2-4774-A9B3-59BCC6837E98}"/>
              </c:ext>
            </c:extLst>
          </c:dPt>
          <c:dPt>
            <c:idx val="13"/>
            <c:invertIfNegative val="1"/>
            <c:bubble3D val="0"/>
            <c:extLst>
              <c:ext xmlns:c16="http://schemas.microsoft.com/office/drawing/2014/chart" uri="{C3380CC4-5D6E-409C-BE32-E72D297353CC}">
                <c16:uniqueId val="{0000001B-ECF2-4774-A9B3-59BCC6837E98}"/>
              </c:ext>
            </c:extLst>
          </c:dPt>
          <c:dPt>
            <c:idx val="14"/>
            <c:invertIfNegative val="1"/>
            <c:bubble3D val="0"/>
            <c:extLst>
              <c:ext xmlns:c16="http://schemas.microsoft.com/office/drawing/2014/chart" uri="{C3380CC4-5D6E-409C-BE32-E72D297353CC}">
                <c16:uniqueId val="{0000001D-ECF2-4774-A9B3-59BCC6837E98}"/>
              </c:ext>
            </c:extLst>
          </c:dPt>
          <c:dPt>
            <c:idx val="15"/>
            <c:invertIfNegative val="1"/>
            <c:bubble3D val="0"/>
            <c:extLst>
              <c:ext xmlns:c16="http://schemas.microsoft.com/office/drawing/2014/chart" uri="{C3380CC4-5D6E-409C-BE32-E72D297353CC}">
                <c16:uniqueId val="{0000001F-ECF2-4774-A9B3-59BCC6837E98}"/>
              </c:ext>
            </c:extLst>
          </c:dPt>
          <c:dPt>
            <c:idx val="16"/>
            <c:invertIfNegative val="1"/>
            <c:bubble3D val="0"/>
            <c:extLst>
              <c:ext xmlns:c16="http://schemas.microsoft.com/office/drawing/2014/chart" uri="{C3380CC4-5D6E-409C-BE32-E72D297353CC}">
                <c16:uniqueId val="{00000021-ECF2-4774-A9B3-59BCC6837E98}"/>
              </c:ext>
            </c:extLst>
          </c:dPt>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20.6%</a:t>
                    </a:r>
                  </a:p>
                </c:rich>
              </c:tx>
              <c:dLblPos val="ctr"/>
              <c:showLegendKey val="0"/>
              <c:showVal val="1"/>
              <c:showCatName val="0"/>
              <c:showSerName val="0"/>
              <c:showPercent val="0"/>
              <c:showBubbleSize val="0"/>
            </c:dLbl>
            <c:dLbl>
              <c:idx val="2"/>
              <c:tx>
                <c:rich>
                  <a:bodyPr/>
                  <a:lstStyle/>
                  <a:p>
                    <a:pPr>
                      <a:defRPr sz="800">
                        <a:latin typeface="Nexa Book"/>
                      </a:defRPr>
                    </a:pPr>
                    <a:r>
                      <a:t>+15.8%</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0.0</c:v>
                </c:pt>
                <c:pt idx="1">
                  <c:v>0.2057</c:v>
                </c:pt>
                <c:pt idx="2">
                  <c:v>0.1582</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55.9 %</a:t>
                    </a:r>
                  </a:p>
                </c:rich>
              </c:tx>
              <c:dLblPos val="ctr"/>
              <c:showLegendKey val="0"/>
              <c:showVal val="1"/>
              <c:showCatName val="0"/>
              <c:showSerName val="0"/>
              <c:showPercent val="0"/>
              <c:showBubbleSize val="0"/>
            </c:dLbl>
            <c:dLbl>
              <c:idx val="2"/>
              <c:tx>
                <c:rich>
                  <a:bodyPr/>
                  <a:lstStyle/>
                  <a:p>
                    <a:pPr>
                      <a:defRPr sz="800">
                        <a:latin typeface="Nexa Book"/>
                      </a:defRPr>
                    </a:pPr>
                    <a:r>
                      <a:t>44.1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1.0</c:v>
                </c:pt>
                <c:pt idx="1">
                  <c:v>0.5586</c:v>
                </c:pt>
                <c:pt idx="2">
                  <c:v>0.441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53.9 %</a:t>
                    </a:r>
                  </a:p>
                </c:rich>
              </c:tx>
              <c:dLblPos val="ctr"/>
              <c:showLegendKey val="0"/>
              <c:showVal val="1"/>
              <c:showCatName val="0"/>
              <c:showSerName val="0"/>
              <c:showPercent val="0"/>
              <c:showBubbleSize val="0"/>
            </c:dLbl>
            <c:dLbl>
              <c:idx val="2"/>
              <c:tx>
                <c:rich>
                  <a:bodyPr/>
                  <a:lstStyle/>
                  <a:p>
                    <a:pPr>
                      <a:defRPr sz="800">
                        <a:latin typeface="Nexa Book"/>
                      </a:defRPr>
                    </a:pPr>
                    <a:r>
                      <a:t>46.1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1.0</c:v>
                </c:pt>
                <c:pt idx="1">
                  <c:v>0.5394</c:v>
                </c:pt>
                <c:pt idx="2">
                  <c:v>0.460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417</a:t>
                    </a:r>
                  </a:p>
                </c:rich>
              </c:tx>
              <c:dLblPos val="ctr"/>
              <c:showLegendKey val="0"/>
              <c:showVal val="1"/>
              <c:showCatName val="0"/>
              <c:showSerName val="0"/>
              <c:showPercent val="0"/>
              <c:showBubbleSize val="0"/>
            </c:dLbl>
            <c:dLbl>
              <c:idx val="1"/>
              <c:tx>
                <c:rich>
                  <a:bodyPr/>
                  <a:lstStyle/>
                  <a:p>
                    <a:pPr>
                      <a:defRPr sz="800">
                        <a:latin typeface="Nexa Book"/>
                      </a:defRPr>
                    </a:pPr>
                    <a:r>
                      <a:t>233</a:t>
                    </a:r>
                  </a:p>
                </c:rich>
              </c:tx>
              <c:dLblPos val="ctr"/>
              <c:showLegendKey val="0"/>
              <c:showVal val="1"/>
              <c:showCatName val="0"/>
              <c:showSerName val="0"/>
              <c:showPercent val="0"/>
              <c:showBubbleSize val="0"/>
            </c:dLbl>
            <c:dLbl>
              <c:idx val="2"/>
              <c:tx>
                <c:rich>
                  <a:bodyPr/>
                  <a:lstStyle/>
                  <a:p>
                    <a:pPr>
                      <a:defRPr sz="800">
                        <a:latin typeface="Nexa Book"/>
                      </a:defRPr>
                    </a:pPr>
                    <a:r>
                      <a:t>184</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417337362.0</c:v>
                </c:pt>
                <c:pt idx="1">
                  <c:v>233135746.0</c:v>
                </c:pt>
                <c:pt idx="2">
                  <c:v>184201616.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57</a:t>
                    </a:r>
                  </a:p>
                </c:rich>
              </c:tx>
              <c:dLblPos val="ctr"/>
              <c:showLegendKey val="0"/>
              <c:showVal val="1"/>
              <c:showCatName val="0"/>
              <c:showSerName val="0"/>
              <c:showPercent val="0"/>
              <c:showBubbleSize val="0"/>
            </c:dLbl>
            <c:dLbl>
              <c:idx val="1"/>
              <c:tx>
                <c:rich>
                  <a:bodyPr/>
                  <a:lstStyle/>
                  <a:p>
                    <a:pPr>
                      <a:defRPr sz="800">
                        <a:latin typeface="Nexa Book"/>
                      </a:defRPr>
                    </a:pPr>
                    <a:r>
                      <a:t>31</a:t>
                    </a:r>
                  </a:p>
                </c:rich>
              </c:tx>
              <c:dLblPos val="ctr"/>
              <c:showLegendKey val="0"/>
              <c:showVal val="1"/>
              <c:showCatName val="0"/>
              <c:showSerName val="0"/>
              <c:showPercent val="0"/>
              <c:showBubbleSize val="0"/>
            </c:dLbl>
            <c:dLbl>
              <c:idx val="2"/>
              <c:tx>
                <c:rich>
                  <a:bodyPr/>
                  <a:lstStyle/>
                  <a:p>
                    <a:pPr>
                      <a:defRPr sz="800">
                        <a:latin typeface="Nexa Book"/>
                      </a:defRPr>
                    </a:pPr>
                    <a:r>
                      <a:t>26</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57390966.0</c:v>
                </c:pt>
                <c:pt idx="1">
                  <c:v>30956795.0</c:v>
                </c:pt>
                <c:pt idx="2">
                  <c:v>26434171.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1-2960-4508-BA80-9CD1D30EF006}"/>
              </c:ext>
            </c:extLst>
          </c:dPt>
          <c:dPt>
            <c:idx val="1"/>
            <c:invertIfNegative val="1"/>
            <c:bubble3D val="0"/>
            <c:extLst>
              <c:ext xmlns:c16="http://schemas.microsoft.com/office/drawing/2014/chart" uri="{C3380CC4-5D6E-409C-BE32-E72D297353CC}">
                <c16:uniqueId val="{00000003-A2FA-4046-9F96-F8B0F3C1321B}"/>
              </c:ext>
            </c:extLst>
          </c:dPt>
          <c:dPt>
            <c:idx val="2"/>
            <c:invertIfNegative val="1"/>
            <c:bubble3D val="0"/>
            <c:extLst>
              <c:ext xmlns:c16="http://schemas.microsoft.com/office/drawing/2014/chart" uri="{C3380CC4-5D6E-409C-BE32-E72D297353CC}">
                <c16:uniqueId val="{00000005-A2FA-4046-9F96-F8B0F3C1321B}"/>
              </c:ext>
            </c:extLst>
          </c:dPt>
          <c:dPt>
            <c:idx val="3"/>
            <c:invertIfNegative val="1"/>
            <c:bubble3D val="0"/>
            <c:extLst>
              <c:ext xmlns:c16="http://schemas.microsoft.com/office/drawing/2014/chart" uri="{C3380CC4-5D6E-409C-BE32-E72D297353CC}">
                <c16:uniqueId val="{00000002-2960-4508-BA80-9CD1D30EF006}"/>
              </c:ext>
            </c:extLst>
          </c:dPt>
          <c:dPt>
            <c:idx val="4"/>
            <c:invertIfNegative val="1"/>
            <c:bubble3D val="0"/>
            <c:extLst>
              <c:ext xmlns:c16="http://schemas.microsoft.com/office/drawing/2014/chart" uri="{C3380CC4-5D6E-409C-BE32-E72D297353CC}">
                <c16:uniqueId val="{00000009-A2FA-4046-9F96-F8B0F3C1321B}"/>
              </c:ext>
            </c:extLst>
          </c:dPt>
          <c:dPt>
            <c:idx val="5"/>
            <c:invertIfNegative val="1"/>
            <c:bubble3D val="0"/>
            <c:extLst>
              <c:ext xmlns:c16="http://schemas.microsoft.com/office/drawing/2014/chart" uri="{C3380CC4-5D6E-409C-BE32-E72D297353CC}">
                <c16:uniqueId val="{0000000B-A2FA-4046-9F96-F8B0F3C1321B}"/>
              </c:ext>
            </c:extLst>
          </c:dPt>
          <c:dPt>
            <c:idx val="6"/>
            <c:invertIfNegative val="1"/>
            <c:bubble3D val="0"/>
            <c:extLst>
              <c:ext xmlns:c16="http://schemas.microsoft.com/office/drawing/2014/chart" uri="{C3380CC4-5D6E-409C-BE32-E72D297353CC}">
                <c16:uniqueId val="{0000000D-A2FA-4046-9F96-F8B0F3C1321B}"/>
              </c:ext>
            </c:extLst>
          </c:dPt>
          <c:dPt>
            <c:idx val="7"/>
            <c:invertIfNegative val="1"/>
            <c:bubble3D val="0"/>
            <c:extLst>
              <c:ext xmlns:c16="http://schemas.microsoft.com/office/drawing/2014/chart" uri="{C3380CC4-5D6E-409C-BE32-E72D297353CC}">
                <c16:uniqueId val="{00000000-2960-4508-BA80-9CD1D30EF006}"/>
              </c:ext>
            </c:extLst>
          </c:dPt>
          <c:dPt>
            <c:idx val="8"/>
            <c:invertIfNegative val="1"/>
            <c:bubble3D val="0"/>
            <c:extLst>
              <c:ext xmlns:c16="http://schemas.microsoft.com/office/drawing/2014/chart" uri="{C3380CC4-5D6E-409C-BE32-E72D297353CC}">
                <c16:uniqueId val="{00000011-A2FA-4046-9F96-F8B0F3C1321B}"/>
              </c:ext>
            </c:extLst>
          </c:dPt>
          <c:dPt>
            <c:idx val="9"/>
            <c:invertIfNegative val="1"/>
            <c:bubble3D val="0"/>
            <c:extLst>
              <c:ext xmlns:c16="http://schemas.microsoft.com/office/drawing/2014/chart" uri="{C3380CC4-5D6E-409C-BE32-E72D297353CC}">
                <c16:uniqueId val="{00000013-A2FA-4046-9F96-F8B0F3C1321B}"/>
              </c:ext>
            </c:extLst>
          </c:dPt>
          <c:dPt>
            <c:idx val="10"/>
            <c:invertIfNegative val="1"/>
            <c:bubble3D val="0"/>
            <c:extLst>
              <c:ext xmlns:c16="http://schemas.microsoft.com/office/drawing/2014/chart" uri="{C3380CC4-5D6E-409C-BE32-E72D297353CC}">
                <c16:uniqueId val="{00000015-A2FA-4046-9F96-F8B0F3C1321B}"/>
              </c:ext>
            </c:extLst>
          </c:dPt>
          <c:dPt>
            <c:idx val="11"/>
            <c:invertIfNegative val="1"/>
            <c:bubble3D val="0"/>
            <c:extLst>
              <c:ext xmlns:c16="http://schemas.microsoft.com/office/drawing/2014/chart" uri="{C3380CC4-5D6E-409C-BE32-E72D297353CC}">
                <c16:uniqueId val="{00000017-A2FA-4046-9F96-F8B0F3C1321B}"/>
              </c:ext>
            </c:extLst>
          </c:dPt>
          <c:dPt>
            <c:idx val="12"/>
            <c:invertIfNegative val="1"/>
            <c:bubble3D val="0"/>
            <c:extLst>
              <c:ext xmlns:c16="http://schemas.microsoft.com/office/drawing/2014/chart" uri="{C3380CC4-5D6E-409C-BE32-E72D297353CC}">
                <c16:uniqueId val="{00000019-A2FA-4046-9F96-F8B0F3C1321B}"/>
              </c:ext>
            </c:extLst>
          </c:dPt>
          <c:dPt>
            <c:idx val="13"/>
            <c:invertIfNegative val="1"/>
            <c:bubble3D val="0"/>
            <c:extLst>
              <c:ext xmlns:c16="http://schemas.microsoft.com/office/drawing/2014/chart" uri="{C3380CC4-5D6E-409C-BE32-E72D297353CC}">
                <c16:uniqueId val="{0000001B-A2FA-4046-9F96-F8B0F3C1321B}"/>
              </c:ext>
            </c:extLst>
          </c:dPt>
          <c:dPt>
            <c:idx val="14"/>
            <c:invertIfNegative val="1"/>
            <c:bubble3D val="0"/>
            <c:extLst>
              <c:ext xmlns:c16="http://schemas.microsoft.com/office/drawing/2014/chart" uri="{C3380CC4-5D6E-409C-BE32-E72D297353CC}">
                <c16:uniqueId val="{0000001D-A2FA-4046-9F96-F8B0F3C1321B}"/>
              </c:ext>
            </c:extLst>
          </c:dPt>
          <c:dPt>
            <c:idx val="15"/>
            <c:invertIfNegative val="1"/>
            <c:bubble3D val="0"/>
            <c:extLst>
              <c:ext xmlns:c16="http://schemas.microsoft.com/office/drawing/2014/chart" uri="{C3380CC4-5D6E-409C-BE32-E72D297353CC}">
                <c16:uniqueId val="{0000001F-A2FA-4046-9F96-F8B0F3C1321B}"/>
              </c:ext>
            </c:extLst>
          </c:dPt>
          <c:dPt>
            <c:idx val="16"/>
            <c:invertIfNegative val="1"/>
            <c:bubble3D val="0"/>
            <c:extLst>
              <c:ext xmlns:c16="http://schemas.microsoft.com/office/drawing/2014/chart" uri="{C3380CC4-5D6E-409C-BE32-E72D297353CC}">
                <c16:uniqueId val="{00000021-A2FA-4046-9F96-F8B0F3C1321B}"/>
              </c:ext>
            </c:extLst>
          </c:dPt>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25.6%</a:t>
                    </a:r>
                  </a:p>
                </c:rich>
              </c:tx>
              <c:dLblPos val="ctr"/>
              <c:showLegendKey val="0"/>
              <c:showVal val="1"/>
              <c:showCatName val="0"/>
              <c:showSerName val="0"/>
              <c:showPercent val="0"/>
              <c:showBubbleSize val="0"/>
            </c:dLbl>
            <c:dLbl>
              <c:idx val="2"/>
              <c:tx>
                <c:rich>
                  <a:bodyPr/>
                  <a:lstStyle/>
                  <a:p>
                    <a:pPr>
                      <a:defRPr sz="800">
                        <a:latin typeface="Nexa Book"/>
                      </a:defRPr>
                    </a:pPr>
                    <a:r>
                      <a:t>+20.0%</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0.0</c:v>
                </c:pt>
                <c:pt idx="1">
                  <c:v>0.25589999999999996</c:v>
                </c:pt>
                <c:pt idx="2">
                  <c:v>0.1998</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3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33901421369950807</c:v>
                </c:pt>
                <c:pt idx="1">
                  <c:v>0.19377803228047322</c:v>
                </c:pt>
                <c:pt idx="2">
                  <c:v>0.17883242135276337</c:v>
                </c:pt>
                <c:pt idx="3">
                  <c:v>0.11143534980658593</c:v>
                </c:pt>
                <c:pt idx="4">
                  <c:v>0.048667032603189775</c:v>
                </c:pt>
                <c:pt idx="5">
                  <c:v>0.022344209889143474</c:v>
                </c:pt>
                <c:pt idx="6">
                  <c:v>0.021448626277738178</c:v>
                </c:pt>
                <c:pt idx="7">
                  <c:v>0.084480114090598</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0-DCEF-4AAE-B747-39856A6177F4}"/>
              </c:ext>
            </c:extLst>
          </c:dPt>
          <c:dPt>
            <c:idx val="1"/>
            <c:invertIfNegative val="1"/>
            <c:bubble3D val="0"/>
            <c:extLst>
              <c:ext xmlns:c16="http://schemas.microsoft.com/office/drawing/2014/chart" uri="{C3380CC4-5D6E-409C-BE32-E72D297353CC}">
                <c16:uniqueId val="{00000003-ECF2-4774-A9B3-59BCC6837E98}"/>
              </c:ext>
            </c:extLst>
          </c:dPt>
          <c:dPt>
            <c:idx val="2"/>
            <c:invertIfNegative val="1"/>
            <c:bubble3D val="0"/>
            <c:extLst>
              <c:ext xmlns:c16="http://schemas.microsoft.com/office/drawing/2014/chart" uri="{C3380CC4-5D6E-409C-BE32-E72D297353CC}">
                <c16:uniqueId val="{00000005-ECF2-4774-A9B3-59BCC6837E98}"/>
              </c:ext>
            </c:extLst>
          </c:dPt>
          <c:dPt>
            <c:idx val="3"/>
            <c:invertIfNegative val="1"/>
            <c:bubble3D val="0"/>
            <c:extLst>
              <c:ext xmlns:c16="http://schemas.microsoft.com/office/drawing/2014/chart" uri="{C3380CC4-5D6E-409C-BE32-E72D297353CC}">
                <c16:uniqueId val="{00000001-DCEF-4AAE-B747-39856A6177F4}"/>
              </c:ext>
            </c:extLst>
          </c:dPt>
          <c:dPt>
            <c:idx val="4"/>
            <c:invertIfNegative val="1"/>
            <c:bubble3D val="0"/>
            <c:extLst>
              <c:ext xmlns:c16="http://schemas.microsoft.com/office/drawing/2014/chart" uri="{C3380CC4-5D6E-409C-BE32-E72D297353CC}">
                <c16:uniqueId val="{00000009-ECF2-4774-A9B3-59BCC6837E98}"/>
              </c:ext>
            </c:extLst>
          </c:dPt>
          <c:dPt>
            <c:idx val="5"/>
            <c:invertIfNegative val="1"/>
            <c:bubble3D val="0"/>
            <c:extLst>
              <c:ext xmlns:c16="http://schemas.microsoft.com/office/drawing/2014/chart" uri="{C3380CC4-5D6E-409C-BE32-E72D297353CC}">
                <c16:uniqueId val="{0000000B-ECF2-4774-A9B3-59BCC6837E98}"/>
              </c:ext>
            </c:extLst>
          </c:dPt>
          <c:dPt>
            <c:idx val="6"/>
            <c:invertIfNegative val="1"/>
            <c:bubble3D val="0"/>
            <c:extLst>
              <c:ext xmlns:c16="http://schemas.microsoft.com/office/drawing/2014/chart" uri="{C3380CC4-5D6E-409C-BE32-E72D297353CC}">
                <c16:uniqueId val="{0000000D-ECF2-4774-A9B3-59BCC6837E98}"/>
              </c:ext>
            </c:extLst>
          </c:dPt>
          <c:dPt>
            <c:idx val="7"/>
            <c:invertIfNegative val="1"/>
            <c:bubble3D val="0"/>
            <c:extLst>
              <c:ext xmlns:c16="http://schemas.microsoft.com/office/drawing/2014/chart" uri="{C3380CC4-5D6E-409C-BE32-E72D297353CC}">
                <c16:uniqueId val="{00000002-DCEF-4AAE-B747-39856A6177F4}"/>
              </c:ext>
            </c:extLst>
          </c:dPt>
          <c:dPt>
            <c:idx val="8"/>
            <c:invertIfNegative val="1"/>
            <c:bubble3D val="0"/>
            <c:extLst>
              <c:ext xmlns:c16="http://schemas.microsoft.com/office/drawing/2014/chart" uri="{C3380CC4-5D6E-409C-BE32-E72D297353CC}">
                <c16:uniqueId val="{00000011-ECF2-4774-A9B3-59BCC6837E98}"/>
              </c:ext>
            </c:extLst>
          </c:dPt>
          <c:dPt>
            <c:idx val="9"/>
            <c:invertIfNegative val="1"/>
            <c:bubble3D val="0"/>
            <c:extLst>
              <c:ext xmlns:c16="http://schemas.microsoft.com/office/drawing/2014/chart" uri="{C3380CC4-5D6E-409C-BE32-E72D297353CC}">
                <c16:uniqueId val="{00000013-ECF2-4774-A9B3-59BCC6837E98}"/>
              </c:ext>
            </c:extLst>
          </c:dPt>
          <c:dPt>
            <c:idx val="10"/>
            <c:invertIfNegative val="1"/>
            <c:bubble3D val="0"/>
            <c:extLst>
              <c:ext xmlns:c16="http://schemas.microsoft.com/office/drawing/2014/chart" uri="{C3380CC4-5D6E-409C-BE32-E72D297353CC}">
                <c16:uniqueId val="{00000015-ECF2-4774-A9B3-59BCC6837E98}"/>
              </c:ext>
            </c:extLst>
          </c:dPt>
          <c:dPt>
            <c:idx val="11"/>
            <c:invertIfNegative val="1"/>
            <c:bubble3D val="0"/>
            <c:extLst>
              <c:ext xmlns:c16="http://schemas.microsoft.com/office/drawing/2014/chart" uri="{C3380CC4-5D6E-409C-BE32-E72D297353CC}">
                <c16:uniqueId val="{00000017-ECF2-4774-A9B3-59BCC6837E98}"/>
              </c:ext>
            </c:extLst>
          </c:dPt>
          <c:dPt>
            <c:idx val="12"/>
            <c:invertIfNegative val="1"/>
            <c:bubble3D val="0"/>
            <c:extLst>
              <c:ext xmlns:c16="http://schemas.microsoft.com/office/drawing/2014/chart" uri="{C3380CC4-5D6E-409C-BE32-E72D297353CC}">
                <c16:uniqueId val="{00000019-ECF2-4774-A9B3-59BCC6837E98}"/>
              </c:ext>
            </c:extLst>
          </c:dPt>
          <c:dPt>
            <c:idx val="13"/>
            <c:invertIfNegative val="1"/>
            <c:bubble3D val="0"/>
            <c:extLst>
              <c:ext xmlns:c16="http://schemas.microsoft.com/office/drawing/2014/chart" uri="{C3380CC4-5D6E-409C-BE32-E72D297353CC}">
                <c16:uniqueId val="{0000001B-ECF2-4774-A9B3-59BCC6837E98}"/>
              </c:ext>
            </c:extLst>
          </c:dPt>
          <c:dPt>
            <c:idx val="14"/>
            <c:invertIfNegative val="1"/>
            <c:bubble3D val="0"/>
            <c:extLst>
              <c:ext xmlns:c16="http://schemas.microsoft.com/office/drawing/2014/chart" uri="{C3380CC4-5D6E-409C-BE32-E72D297353CC}">
                <c16:uniqueId val="{0000001D-ECF2-4774-A9B3-59BCC6837E98}"/>
              </c:ext>
            </c:extLst>
          </c:dPt>
          <c:dPt>
            <c:idx val="15"/>
            <c:invertIfNegative val="1"/>
            <c:bubble3D val="0"/>
            <c:extLst>
              <c:ext xmlns:c16="http://schemas.microsoft.com/office/drawing/2014/chart" uri="{C3380CC4-5D6E-409C-BE32-E72D297353CC}">
                <c16:uniqueId val="{0000001F-ECF2-4774-A9B3-59BCC6837E98}"/>
              </c:ext>
            </c:extLst>
          </c:dPt>
          <c:dPt>
            <c:idx val="16"/>
            <c:invertIfNegative val="1"/>
            <c:bubble3D val="0"/>
            <c:extLst>
              <c:ext xmlns:c16="http://schemas.microsoft.com/office/drawing/2014/chart" uri="{C3380CC4-5D6E-409C-BE32-E72D297353CC}">
                <c16:uniqueId val="{00000021-ECF2-4774-A9B3-59BCC6837E98}"/>
              </c:ext>
            </c:extLst>
          </c:dPt>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22.5%</a:t>
                    </a:r>
                  </a:p>
                </c:rich>
              </c:tx>
              <c:dLblPos val="ctr"/>
              <c:showLegendKey val="0"/>
              <c:showVal val="1"/>
              <c:showCatName val="0"/>
              <c:showSerName val="0"/>
              <c:showPercent val="0"/>
              <c:showBubbleSize val="0"/>
            </c:dLbl>
            <c:dLbl>
              <c:idx val="2"/>
              <c:tx>
                <c:rich>
                  <a:bodyPr/>
                  <a:lstStyle/>
                  <a:p>
                    <a:pPr>
                      <a:defRPr sz="800">
                        <a:latin typeface="Nexa Book"/>
                      </a:defRPr>
                    </a:pPr>
                    <a:r>
                      <a:t>+17.7%</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0.0</c:v>
                </c:pt>
                <c:pt idx="1">
                  <c:v>0.2248</c:v>
                </c:pt>
                <c:pt idx="2">
                  <c:v>0.1769</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56.1 %</a:t>
                    </a:r>
                  </a:p>
                </c:rich>
              </c:tx>
              <c:dLblPos val="ctr"/>
              <c:showLegendKey val="0"/>
              <c:showVal val="1"/>
              <c:showCatName val="0"/>
              <c:showSerName val="0"/>
              <c:showPercent val="0"/>
              <c:showBubbleSize val="0"/>
            </c:dLbl>
            <c:dLbl>
              <c:idx val="2"/>
              <c:tx>
                <c:rich>
                  <a:bodyPr/>
                  <a:lstStyle/>
                  <a:p>
                    <a:pPr>
                      <a:defRPr sz="800">
                        <a:latin typeface="Nexa Book"/>
                      </a:defRPr>
                    </a:pPr>
                    <a:r>
                      <a:t>43.9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1.0</c:v>
                </c:pt>
                <c:pt idx="1">
                  <c:v>0.5609</c:v>
                </c:pt>
                <c:pt idx="2">
                  <c:v>0.4391</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55.1 %</a:t>
                    </a:r>
                  </a:p>
                </c:rich>
              </c:tx>
              <c:dLblPos val="ctr"/>
              <c:showLegendKey val="0"/>
              <c:showVal val="1"/>
              <c:showCatName val="0"/>
              <c:showSerName val="0"/>
              <c:showPercent val="0"/>
              <c:showBubbleSize val="0"/>
            </c:dLbl>
            <c:dLbl>
              <c:idx val="2"/>
              <c:tx>
                <c:rich>
                  <a:bodyPr/>
                  <a:lstStyle/>
                  <a:p>
                    <a:pPr>
                      <a:defRPr sz="800">
                        <a:latin typeface="Nexa Book"/>
                      </a:defRPr>
                    </a:pPr>
                    <a:r>
                      <a:t>44.9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1.0</c:v>
                </c:pt>
                <c:pt idx="1">
                  <c:v>0.5513</c:v>
                </c:pt>
                <c:pt idx="2">
                  <c:v>0.448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396</a:t>
                    </a:r>
                  </a:p>
                </c:rich>
              </c:tx>
              <c:dLblPos val="ctr"/>
              <c:showLegendKey val="0"/>
              <c:showVal val="1"/>
              <c:showCatName val="0"/>
              <c:showSerName val="0"/>
              <c:showPercent val="0"/>
              <c:showBubbleSize val="0"/>
            </c:dLbl>
            <c:dLbl>
              <c:idx val="1"/>
              <c:tx>
                <c:rich>
                  <a:bodyPr/>
                  <a:lstStyle/>
                  <a:p>
                    <a:pPr>
                      <a:defRPr sz="800">
                        <a:latin typeface="Nexa Book"/>
                      </a:defRPr>
                    </a:pPr>
                    <a:r>
                      <a:t>222</a:t>
                    </a:r>
                  </a:p>
                </c:rich>
              </c:tx>
              <c:dLblPos val="ctr"/>
              <c:showLegendKey val="0"/>
              <c:showVal val="1"/>
              <c:showCatName val="0"/>
              <c:showSerName val="0"/>
              <c:showPercent val="0"/>
              <c:showBubbleSize val="0"/>
            </c:dLbl>
            <c:dLbl>
              <c:idx val="2"/>
              <c:tx>
                <c:rich>
                  <a:bodyPr/>
                  <a:lstStyle/>
                  <a:p>
                    <a:pPr>
                      <a:defRPr sz="800">
                        <a:latin typeface="Nexa Book"/>
                      </a:defRPr>
                    </a:pPr>
                    <a:r>
                      <a:t>174</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395622522.0</c:v>
                </c:pt>
                <c:pt idx="1">
                  <c:v>221891116.0</c:v>
                </c:pt>
                <c:pt idx="2">
                  <c:v>173731406.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11</a:t>
                    </a:r>
                  </a:p>
                </c:rich>
              </c:tx>
              <c:dLblPos val="ctr"/>
              <c:showLegendKey val="0"/>
              <c:showVal val="1"/>
              <c:showCatName val="0"/>
              <c:showSerName val="0"/>
              <c:showPercent val="0"/>
              <c:showBubbleSize val="0"/>
            </c:dLbl>
            <c:dLbl>
              <c:idx val="1"/>
              <c:tx>
                <c:rich>
                  <a:bodyPr/>
                  <a:lstStyle/>
                  <a:p>
                    <a:pPr>
                      <a:defRPr sz="800">
                        <a:latin typeface="Nexa Book"/>
                      </a:defRPr>
                    </a:pPr>
                    <a:r>
                      <a:t>6</a:t>
                    </a:r>
                  </a:p>
                </c:rich>
              </c:tx>
              <c:dLblPos val="ctr"/>
              <c:showLegendKey val="0"/>
              <c:showVal val="1"/>
              <c:showCatName val="0"/>
              <c:showSerName val="0"/>
              <c:showPercent val="0"/>
              <c:showBubbleSize val="0"/>
            </c:dLbl>
            <c:dLbl>
              <c:idx val="2"/>
              <c:tx>
                <c:rich>
                  <a:bodyPr/>
                  <a:lstStyle/>
                  <a:p>
                    <a:pPr>
                      <a:defRPr sz="800">
                        <a:latin typeface="Nexa Book"/>
                      </a:defRPr>
                    </a:pPr>
                    <a:r>
                      <a:t>5</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10578704.0</c:v>
                </c:pt>
                <c:pt idx="1">
                  <c:v>5831683.0</c:v>
                </c:pt>
                <c:pt idx="2">
                  <c:v>4747021.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1-2960-4508-BA80-9CD1D30EF006}"/>
              </c:ext>
            </c:extLst>
          </c:dPt>
          <c:dPt>
            <c:idx val="1"/>
            <c:invertIfNegative val="1"/>
            <c:bubble3D val="0"/>
            <c:extLst>
              <c:ext xmlns:c16="http://schemas.microsoft.com/office/drawing/2014/chart" uri="{C3380CC4-5D6E-409C-BE32-E72D297353CC}">
                <c16:uniqueId val="{00000003-A2FA-4046-9F96-F8B0F3C1321B}"/>
              </c:ext>
            </c:extLst>
          </c:dPt>
          <c:dPt>
            <c:idx val="2"/>
            <c:invertIfNegative val="1"/>
            <c:bubble3D val="0"/>
            <c:extLst>
              <c:ext xmlns:c16="http://schemas.microsoft.com/office/drawing/2014/chart" uri="{C3380CC4-5D6E-409C-BE32-E72D297353CC}">
                <c16:uniqueId val="{00000005-A2FA-4046-9F96-F8B0F3C1321B}"/>
              </c:ext>
            </c:extLst>
          </c:dPt>
          <c:dPt>
            <c:idx val="3"/>
            <c:invertIfNegative val="1"/>
            <c:bubble3D val="0"/>
            <c:extLst>
              <c:ext xmlns:c16="http://schemas.microsoft.com/office/drawing/2014/chart" uri="{C3380CC4-5D6E-409C-BE32-E72D297353CC}">
                <c16:uniqueId val="{00000002-2960-4508-BA80-9CD1D30EF006}"/>
              </c:ext>
            </c:extLst>
          </c:dPt>
          <c:dPt>
            <c:idx val="4"/>
            <c:invertIfNegative val="1"/>
            <c:bubble3D val="0"/>
            <c:extLst>
              <c:ext xmlns:c16="http://schemas.microsoft.com/office/drawing/2014/chart" uri="{C3380CC4-5D6E-409C-BE32-E72D297353CC}">
                <c16:uniqueId val="{00000009-A2FA-4046-9F96-F8B0F3C1321B}"/>
              </c:ext>
            </c:extLst>
          </c:dPt>
          <c:dPt>
            <c:idx val="5"/>
            <c:invertIfNegative val="1"/>
            <c:bubble3D val="0"/>
            <c:extLst>
              <c:ext xmlns:c16="http://schemas.microsoft.com/office/drawing/2014/chart" uri="{C3380CC4-5D6E-409C-BE32-E72D297353CC}">
                <c16:uniqueId val="{0000000B-A2FA-4046-9F96-F8B0F3C1321B}"/>
              </c:ext>
            </c:extLst>
          </c:dPt>
          <c:dPt>
            <c:idx val="6"/>
            <c:invertIfNegative val="1"/>
            <c:bubble3D val="0"/>
            <c:extLst>
              <c:ext xmlns:c16="http://schemas.microsoft.com/office/drawing/2014/chart" uri="{C3380CC4-5D6E-409C-BE32-E72D297353CC}">
                <c16:uniqueId val="{0000000D-A2FA-4046-9F96-F8B0F3C1321B}"/>
              </c:ext>
            </c:extLst>
          </c:dPt>
          <c:dPt>
            <c:idx val="7"/>
            <c:invertIfNegative val="1"/>
            <c:bubble3D val="0"/>
            <c:extLst>
              <c:ext xmlns:c16="http://schemas.microsoft.com/office/drawing/2014/chart" uri="{C3380CC4-5D6E-409C-BE32-E72D297353CC}">
                <c16:uniqueId val="{00000000-2960-4508-BA80-9CD1D30EF006}"/>
              </c:ext>
            </c:extLst>
          </c:dPt>
          <c:dPt>
            <c:idx val="8"/>
            <c:invertIfNegative val="1"/>
            <c:bubble3D val="0"/>
            <c:extLst>
              <c:ext xmlns:c16="http://schemas.microsoft.com/office/drawing/2014/chart" uri="{C3380CC4-5D6E-409C-BE32-E72D297353CC}">
                <c16:uniqueId val="{00000011-A2FA-4046-9F96-F8B0F3C1321B}"/>
              </c:ext>
            </c:extLst>
          </c:dPt>
          <c:dPt>
            <c:idx val="9"/>
            <c:invertIfNegative val="1"/>
            <c:bubble3D val="0"/>
            <c:extLst>
              <c:ext xmlns:c16="http://schemas.microsoft.com/office/drawing/2014/chart" uri="{C3380CC4-5D6E-409C-BE32-E72D297353CC}">
                <c16:uniqueId val="{00000013-A2FA-4046-9F96-F8B0F3C1321B}"/>
              </c:ext>
            </c:extLst>
          </c:dPt>
          <c:dPt>
            <c:idx val="10"/>
            <c:invertIfNegative val="1"/>
            <c:bubble3D val="0"/>
            <c:extLst>
              <c:ext xmlns:c16="http://schemas.microsoft.com/office/drawing/2014/chart" uri="{C3380CC4-5D6E-409C-BE32-E72D297353CC}">
                <c16:uniqueId val="{00000015-A2FA-4046-9F96-F8B0F3C1321B}"/>
              </c:ext>
            </c:extLst>
          </c:dPt>
          <c:dPt>
            <c:idx val="11"/>
            <c:invertIfNegative val="1"/>
            <c:bubble3D val="0"/>
            <c:extLst>
              <c:ext xmlns:c16="http://schemas.microsoft.com/office/drawing/2014/chart" uri="{C3380CC4-5D6E-409C-BE32-E72D297353CC}">
                <c16:uniqueId val="{00000017-A2FA-4046-9F96-F8B0F3C1321B}"/>
              </c:ext>
            </c:extLst>
          </c:dPt>
          <c:dPt>
            <c:idx val="12"/>
            <c:invertIfNegative val="1"/>
            <c:bubble3D val="0"/>
            <c:extLst>
              <c:ext xmlns:c16="http://schemas.microsoft.com/office/drawing/2014/chart" uri="{C3380CC4-5D6E-409C-BE32-E72D297353CC}">
                <c16:uniqueId val="{00000019-A2FA-4046-9F96-F8B0F3C1321B}"/>
              </c:ext>
            </c:extLst>
          </c:dPt>
          <c:dPt>
            <c:idx val="13"/>
            <c:invertIfNegative val="1"/>
            <c:bubble3D val="0"/>
            <c:extLst>
              <c:ext xmlns:c16="http://schemas.microsoft.com/office/drawing/2014/chart" uri="{C3380CC4-5D6E-409C-BE32-E72D297353CC}">
                <c16:uniqueId val="{0000001B-A2FA-4046-9F96-F8B0F3C1321B}"/>
              </c:ext>
            </c:extLst>
          </c:dPt>
          <c:dPt>
            <c:idx val="14"/>
            <c:invertIfNegative val="1"/>
            <c:bubble3D val="0"/>
            <c:extLst>
              <c:ext xmlns:c16="http://schemas.microsoft.com/office/drawing/2014/chart" uri="{C3380CC4-5D6E-409C-BE32-E72D297353CC}">
                <c16:uniqueId val="{0000001D-A2FA-4046-9F96-F8B0F3C1321B}"/>
              </c:ext>
            </c:extLst>
          </c:dPt>
          <c:dPt>
            <c:idx val="15"/>
            <c:invertIfNegative val="1"/>
            <c:bubble3D val="0"/>
            <c:extLst>
              <c:ext xmlns:c16="http://schemas.microsoft.com/office/drawing/2014/chart" uri="{C3380CC4-5D6E-409C-BE32-E72D297353CC}">
                <c16:uniqueId val="{0000001F-A2FA-4046-9F96-F8B0F3C1321B}"/>
              </c:ext>
            </c:extLst>
          </c:dPt>
          <c:dPt>
            <c:idx val="16"/>
            <c:invertIfNegative val="1"/>
            <c:bubble3D val="0"/>
            <c:extLst>
              <c:ext xmlns:c16="http://schemas.microsoft.com/office/drawing/2014/chart" uri="{C3380CC4-5D6E-409C-BE32-E72D297353CC}">
                <c16:uniqueId val="{00000021-A2FA-4046-9F96-F8B0F3C1321B}"/>
              </c:ext>
            </c:extLst>
          </c:dPt>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25.8%</a:t>
                    </a:r>
                  </a:p>
                </c:rich>
              </c:tx>
              <c:dLblPos val="ctr"/>
              <c:showLegendKey val="0"/>
              <c:showVal val="1"/>
              <c:showCatName val="0"/>
              <c:showSerName val="0"/>
              <c:showPercent val="0"/>
              <c:showBubbleSize val="0"/>
            </c:dLbl>
            <c:dLbl>
              <c:idx val="2"/>
              <c:tx>
                <c:rich>
                  <a:bodyPr/>
                  <a:lstStyle/>
                  <a:p>
                    <a:pPr>
                      <a:defRPr sz="800">
                        <a:latin typeface="Nexa Book"/>
                      </a:defRPr>
                    </a:pPr>
                    <a:r>
                      <a:t>+20.0%</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0.0</c:v>
                </c:pt>
                <c:pt idx="1">
                  <c:v>0.25839999999999996</c:v>
                </c:pt>
                <c:pt idx="2">
                  <c:v>0.20049999999999998</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0-DCEF-4AAE-B747-39856A6177F4}"/>
              </c:ext>
            </c:extLst>
          </c:dPt>
          <c:dPt>
            <c:idx val="1"/>
            <c:invertIfNegative val="1"/>
            <c:bubble3D val="0"/>
            <c:extLst>
              <c:ext xmlns:c16="http://schemas.microsoft.com/office/drawing/2014/chart" uri="{C3380CC4-5D6E-409C-BE32-E72D297353CC}">
                <c16:uniqueId val="{00000003-ECF2-4774-A9B3-59BCC6837E98}"/>
              </c:ext>
            </c:extLst>
          </c:dPt>
          <c:dPt>
            <c:idx val="2"/>
            <c:invertIfNegative val="1"/>
            <c:bubble3D val="0"/>
            <c:extLst>
              <c:ext xmlns:c16="http://schemas.microsoft.com/office/drawing/2014/chart" uri="{C3380CC4-5D6E-409C-BE32-E72D297353CC}">
                <c16:uniqueId val="{00000005-ECF2-4774-A9B3-59BCC6837E98}"/>
              </c:ext>
            </c:extLst>
          </c:dPt>
          <c:dPt>
            <c:idx val="3"/>
            <c:invertIfNegative val="1"/>
            <c:bubble3D val="0"/>
            <c:extLst>
              <c:ext xmlns:c16="http://schemas.microsoft.com/office/drawing/2014/chart" uri="{C3380CC4-5D6E-409C-BE32-E72D297353CC}">
                <c16:uniqueId val="{00000001-DCEF-4AAE-B747-39856A6177F4}"/>
              </c:ext>
            </c:extLst>
          </c:dPt>
          <c:dPt>
            <c:idx val="4"/>
            <c:invertIfNegative val="1"/>
            <c:bubble3D val="0"/>
            <c:extLst>
              <c:ext xmlns:c16="http://schemas.microsoft.com/office/drawing/2014/chart" uri="{C3380CC4-5D6E-409C-BE32-E72D297353CC}">
                <c16:uniqueId val="{00000009-ECF2-4774-A9B3-59BCC6837E98}"/>
              </c:ext>
            </c:extLst>
          </c:dPt>
          <c:dPt>
            <c:idx val="5"/>
            <c:invertIfNegative val="1"/>
            <c:bubble3D val="0"/>
            <c:extLst>
              <c:ext xmlns:c16="http://schemas.microsoft.com/office/drawing/2014/chart" uri="{C3380CC4-5D6E-409C-BE32-E72D297353CC}">
                <c16:uniqueId val="{0000000B-ECF2-4774-A9B3-59BCC6837E98}"/>
              </c:ext>
            </c:extLst>
          </c:dPt>
          <c:dPt>
            <c:idx val="6"/>
            <c:invertIfNegative val="1"/>
            <c:bubble3D val="0"/>
            <c:extLst>
              <c:ext xmlns:c16="http://schemas.microsoft.com/office/drawing/2014/chart" uri="{C3380CC4-5D6E-409C-BE32-E72D297353CC}">
                <c16:uniqueId val="{0000000D-ECF2-4774-A9B3-59BCC6837E98}"/>
              </c:ext>
            </c:extLst>
          </c:dPt>
          <c:dPt>
            <c:idx val="7"/>
            <c:invertIfNegative val="1"/>
            <c:bubble3D val="0"/>
            <c:extLst>
              <c:ext xmlns:c16="http://schemas.microsoft.com/office/drawing/2014/chart" uri="{C3380CC4-5D6E-409C-BE32-E72D297353CC}">
                <c16:uniqueId val="{00000002-DCEF-4AAE-B747-39856A6177F4}"/>
              </c:ext>
            </c:extLst>
          </c:dPt>
          <c:dPt>
            <c:idx val="8"/>
            <c:invertIfNegative val="1"/>
            <c:bubble3D val="0"/>
            <c:extLst>
              <c:ext xmlns:c16="http://schemas.microsoft.com/office/drawing/2014/chart" uri="{C3380CC4-5D6E-409C-BE32-E72D297353CC}">
                <c16:uniqueId val="{00000011-ECF2-4774-A9B3-59BCC6837E98}"/>
              </c:ext>
            </c:extLst>
          </c:dPt>
          <c:dPt>
            <c:idx val="9"/>
            <c:invertIfNegative val="1"/>
            <c:bubble3D val="0"/>
            <c:extLst>
              <c:ext xmlns:c16="http://schemas.microsoft.com/office/drawing/2014/chart" uri="{C3380CC4-5D6E-409C-BE32-E72D297353CC}">
                <c16:uniqueId val="{00000013-ECF2-4774-A9B3-59BCC6837E98}"/>
              </c:ext>
            </c:extLst>
          </c:dPt>
          <c:dPt>
            <c:idx val="10"/>
            <c:invertIfNegative val="1"/>
            <c:bubble3D val="0"/>
            <c:extLst>
              <c:ext xmlns:c16="http://schemas.microsoft.com/office/drawing/2014/chart" uri="{C3380CC4-5D6E-409C-BE32-E72D297353CC}">
                <c16:uniqueId val="{00000015-ECF2-4774-A9B3-59BCC6837E98}"/>
              </c:ext>
            </c:extLst>
          </c:dPt>
          <c:dPt>
            <c:idx val="11"/>
            <c:invertIfNegative val="1"/>
            <c:bubble3D val="0"/>
            <c:extLst>
              <c:ext xmlns:c16="http://schemas.microsoft.com/office/drawing/2014/chart" uri="{C3380CC4-5D6E-409C-BE32-E72D297353CC}">
                <c16:uniqueId val="{00000017-ECF2-4774-A9B3-59BCC6837E98}"/>
              </c:ext>
            </c:extLst>
          </c:dPt>
          <c:dPt>
            <c:idx val="12"/>
            <c:invertIfNegative val="1"/>
            <c:bubble3D val="0"/>
            <c:extLst>
              <c:ext xmlns:c16="http://schemas.microsoft.com/office/drawing/2014/chart" uri="{C3380CC4-5D6E-409C-BE32-E72D297353CC}">
                <c16:uniqueId val="{00000019-ECF2-4774-A9B3-59BCC6837E98}"/>
              </c:ext>
            </c:extLst>
          </c:dPt>
          <c:dPt>
            <c:idx val="13"/>
            <c:invertIfNegative val="1"/>
            <c:bubble3D val="0"/>
            <c:extLst>
              <c:ext xmlns:c16="http://schemas.microsoft.com/office/drawing/2014/chart" uri="{C3380CC4-5D6E-409C-BE32-E72D297353CC}">
                <c16:uniqueId val="{0000001B-ECF2-4774-A9B3-59BCC6837E98}"/>
              </c:ext>
            </c:extLst>
          </c:dPt>
          <c:dPt>
            <c:idx val="14"/>
            <c:invertIfNegative val="1"/>
            <c:bubble3D val="0"/>
            <c:extLst>
              <c:ext xmlns:c16="http://schemas.microsoft.com/office/drawing/2014/chart" uri="{C3380CC4-5D6E-409C-BE32-E72D297353CC}">
                <c16:uniqueId val="{0000001D-ECF2-4774-A9B3-59BCC6837E98}"/>
              </c:ext>
            </c:extLst>
          </c:dPt>
          <c:dPt>
            <c:idx val="15"/>
            <c:invertIfNegative val="1"/>
            <c:bubble3D val="0"/>
            <c:extLst>
              <c:ext xmlns:c16="http://schemas.microsoft.com/office/drawing/2014/chart" uri="{C3380CC4-5D6E-409C-BE32-E72D297353CC}">
                <c16:uniqueId val="{0000001F-ECF2-4774-A9B3-59BCC6837E98}"/>
              </c:ext>
            </c:extLst>
          </c:dPt>
          <c:dPt>
            <c:idx val="16"/>
            <c:invertIfNegative val="1"/>
            <c:bubble3D val="0"/>
            <c:extLst>
              <c:ext xmlns:c16="http://schemas.microsoft.com/office/drawing/2014/chart" uri="{C3380CC4-5D6E-409C-BE32-E72D297353CC}">
                <c16:uniqueId val="{00000021-ECF2-4774-A9B3-59BCC6837E98}"/>
              </c:ext>
            </c:extLst>
          </c:dPt>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22.3%</a:t>
                    </a:r>
                  </a:p>
                </c:rich>
              </c:tx>
              <c:dLblPos val="ctr"/>
              <c:showLegendKey val="0"/>
              <c:showVal val="1"/>
              <c:showCatName val="0"/>
              <c:showSerName val="0"/>
              <c:showPercent val="0"/>
              <c:showBubbleSize val="0"/>
            </c:dLbl>
            <c:dLbl>
              <c:idx val="2"/>
              <c:tx>
                <c:rich>
                  <a:bodyPr/>
                  <a:lstStyle/>
                  <a:p>
                    <a:pPr>
                      <a:defRPr sz="800">
                        <a:latin typeface="Nexa Book"/>
                      </a:defRPr>
                    </a:pPr>
                    <a:r>
                      <a:t>+17.9%</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0.0</c:v>
                </c:pt>
                <c:pt idx="1">
                  <c:v>0.22310000000000002</c:v>
                </c:pt>
                <c:pt idx="2">
                  <c:v>0.17930000000000001</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56.1 %</a:t>
                    </a:r>
                  </a:p>
                </c:rich>
              </c:tx>
              <c:dLblPos val="ctr"/>
              <c:showLegendKey val="0"/>
              <c:showVal val="1"/>
              <c:showCatName val="0"/>
              <c:showSerName val="0"/>
              <c:showPercent val="0"/>
              <c:showBubbleSize val="0"/>
            </c:dLbl>
            <c:dLbl>
              <c:idx val="2"/>
              <c:tx>
                <c:rich>
                  <a:bodyPr/>
                  <a:lstStyle/>
                  <a:p>
                    <a:pPr>
                      <a:defRPr sz="800">
                        <a:latin typeface="Nexa Book"/>
                      </a:defRPr>
                    </a:pPr>
                    <a:r>
                      <a:t>43.9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1.0</c:v>
                </c:pt>
                <c:pt idx="1">
                  <c:v>0.5609</c:v>
                </c:pt>
                <c:pt idx="2">
                  <c:v>0.4391</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54.4 %</a:t>
                    </a:r>
                  </a:p>
                </c:rich>
              </c:tx>
              <c:dLblPos val="ctr"/>
              <c:showLegendKey val="0"/>
              <c:showVal val="1"/>
              <c:showCatName val="0"/>
              <c:showSerName val="0"/>
              <c:showPercent val="0"/>
              <c:showBubbleSize val="0"/>
            </c:dLbl>
            <c:dLbl>
              <c:idx val="2"/>
              <c:tx>
                <c:rich>
                  <a:bodyPr/>
                  <a:lstStyle/>
                  <a:p>
                    <a:pPr>
                      <a:defRPr sz="800">
                        <a:latin typeface="Nexa Book"/>
                      </a:defRPr>
                    </a:pPr>
                    <a:r>
                      <a:t>45.6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1.0</c:v>
                </c:pt>
                <c:pt idx="1">
                  <c:v>0.5437</c:v>
                </c:pt>
                <c:pt idx="2">
                  <c:v>0.456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396</a:t>
                    </a:r>
                  </a:p>
                </c:rich>
              </c:tx>
              <c:dLblPos val="ctr"/>
              <c:showLegendKey val="0"/>
              <c:showVal val="1"/>
              <c:showCatName val="0"/>
              <c:showSerName val="0"/>
              <c:showPercent val="0"/>
              <c:showBubbleSize val="0"/>
            </c:dLbl>
            <c:dLbl>
              <c:idx val="1"/>
              <c:tx>
                <c:rich>
                  <a:bodyPr/>
                  <a:lstStyle/>
                  <a:p>
                    <a:pPr>
                      <a:defRPr sz="800">
                        <a:latin typeface="Nexa Book"/>
                      </a:defRPr>
                    </a:pPr>
                    <a:r>
                      <a:t>222</a:t>
                    </a:r>
                  </a:p>
                </c:rich>
              </c:tx>
              <c:dLblPos val="ctr"/>
              <c:showLegendKey val="0"/>
              <c:showVal val="1"/>
              <c:showCatName val="0"/>
              <c:showSerName val="0"/>
              <c:showPercent val="0"/>
              <c:showBubbleSize val="0"/>
            </c:dLbl>
            <c:dLbl>
              <c:idx val="2"/>
              <c:tx>
                <c:rich>
                  <a:bodyPr/>
                  <a:lstStyle/>
                  <a:p>
                    <a:pPr>
                      <a:defRPr sz="800">
                        <a:latin typeface="Nexa Book"/>
                      </a:defRPr>
                    </a:pPr>
                    <a:r>
                      <a:t>174</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395622522.0</c:v>
                </c:pt>
                <c:pt idx="1">
                  <c:v>221891116.0</c:v>
                </c:pt>
                <c:pt idx="2">
                  <c:v>173731406.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9</c:f>
              <c:numCache>
                <c:formatCode>General</c:formatCode>
                <c:ptCount val="8"/>
                <c:pt idx="0">
                  <c:v>0.010390042432860846</c:v>
                </c:pt>
                <c:pt idx="1">
                  <c:v>-0.018022720944298354</c:v>
                </c:pt>
                <c:pt idx="2">
                  <c:v>0.00044784161375913123</c:v>
                </c:pt>
                <c:pt idx="3">
                  <c:v>0.005287632338664805</c:v>
                </c:pt>
                <c:pt idx="4">
                  <c:v>-0.004869403838031985</c:v>
                </c:pt>
                <c:pt idx="5">
                  <c:v>0.002570299534204769</c:v>
                </c:pt>
                <c:pt idx="6">
                  <c:v>0.004880502179419091</c:v>
                </c:pt>
                <c:pt idx="7">
                  <c:v>-0.0006841933165782978</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12</a:t>
                    </a:r>
                  </a:p>
                </c:rich>
              </c:tx>
              <c:dLblPos val="ctr"/>
              <c:showLegendKey val="0"/>
              <c:showVal val="1"/>
              <c:showCatName val="0"/>
              <c:showSerName val="0"/>
              <c:showPercent val="0"/>
              <c:showBubbleSize val="0"/>
            </c:dLbl>
            <c:dLbl>
              <c:idx val="1"/>
              <c:tx>
                <c:rich>
                  <a:bodyPr/>
                  <a:lstStyle/>
                  <a:p>
                    <a:pPr>
                      <a:defRPr sz="800">
                        <a:latin typeface="Nexa Book"/>
                      </a:defRPr>
                    </a:pPr>
                    <a:r>
                      <a:t>7</a:t>
                    </a:r>
                  </a:p>
                </c:rich>
              </c:tx>
              <c:dLblPos val="ctr"/>
              <c:showLegendKey val="0"/>
              <c:showVal val="1"/>
              <c:showCatName val="0"/>
              <c:showSerName val="0"/>
              <c:showPercent val="0"/>
              <c:showBubbleSize val="0"/>
            </c:dLbl>
            <c:dLbl>
              <c:idx val="2"/>
              <c:tx>
                <c:rich>
                  <a:bodyPr/>
                  <a:lstStyle/>
                  <a:p>
                    <a:pPr>
                      <a:defRPr sz="800">
                        <a:latin typeface="Nexa Book"/>
                      </a:defRPr>
                    </a:pPr>
                    <a:r>
                      <a:t>6</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12399734.0</c:v>
                </c:pt>
                <c:pt idx="1">
                  <c:v>6741136.0</c:v>
                </c:pt>
                <c:pt idx="2">
                  <c:v>5658598.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1-2960-4508-BA80-9CD1D30EF006}"/>
              </c:ext>
            </c:extLst>
          </c:dPt>
          <c:dPt>
            <c:idx val="1"/>
            <c:invertIfNegative val="1"/>
            <c:bubble3D val="0"/>
            <c:extLst>
              <c:ext xmlns:c16="http://schemas.microsoft.com/office/drawing/2014/chart" uri="{C3380CC4-5D6E-409C-BE32-E72D297353CC}">
                <c16:uniqueId val="{00000003-A2FA-4046-9F96-F8B0F3C1321B}"/>
              </c:ext>
            </c:extLst>
          </c:dPt>
          <c:dPt>
            <c:idx val="2"/>
            <c:invertIfNegative val="1"/>
            <c:bubble3D val="0"/>
            <c:extLst>
              <c:ext xmlns:c16="http://schemas.microsoft.com/office/drawing/2014/chart" uri="{C3380CC4-5D6E-409C-BE32-E72D297353CC}">
                <c16:uniqueId val="{00000005-A2FA-4046-9F96-F8B0F3C1321B}"/>
              </c:ext>
            </c:extLst>
          </c:dPt>
          <c:dPt>
            <c:idx val="3"/>
            <c:invertIfNegative val="1"/>
            <c:bubble3D val="0"/>
            <c:extLst>
              <c:ext xmlns:c16="http://schemas.microsoft.com/office/drawing/2014/chart" uri="{C3380CC4-5D6E-409C-BE32-E72D297353CC}">
                <c16:uniqueId val="{00000002-2960-4508-BA80-9CD1D30EF006}"/>
              </c:ext>
            </c:extLst>
          </c:dPt>
          <c:dPt>
            <c:idx val="4"/>
            <c:invertIfNegative val="1"/>
            <c:bubble3D val="0"/>
            <c:extLst>
              <c:ext xmlns:c16="http://schemas.microsoft.com/office/drawing/2014/chart" uri="{C3380CC4-5D6E-409C-BE32-E72D297353CC}">
                <c16:uniqueId val="{00000009-A2FA-4046-9F96-F8B0F3C1321B}"/>
              </c:ext>
            </c:extLst>
          </c:dPt>
          <c:dPt>
            <c:idx val="5"/>
            <c:invertIfNegative val="1"/>
            <c:bubble3D val="0"/>
            <c:extLst>
              <c:ext xmlns:c16="http://schemas.microsoft.com/office/drawing/2014/chart" uri="{C3380CC4-5D6E-409C-BE32-E72D297353CC}">
                <c16:uniqueId val="{0000000B-A2FA-4046-9F96-F8B0F3C1321B}"/>
              </c:ext>
            </c:extLst>
          </c:dPt>
          <c:dPt>
            <c:idx val="6"/>
            <c:invertIfNegative val="1"/>
            <c:bubble3D val="0"/>
            <c:extLst>
              <c:ext xmlns:c16="http://schemas.microsoft.com/office/drawing/2014/chart" uri="{C3380CC4-5D6E-409C-BE32-E72D297353CC}">
                <c16:uniqueId val="{0000000D-A2FA-4046-9F96-F8B0F3C1321B}"/>
              </c:ext>
            </c:extLst>
          </c:dPt>
          <c:dPt>
            <c:idx val="7"/>
            <c:invertIfNegative val="1"/>
            <c:bubble3D val="0"/>
            <c:extLst>
              <c:ext xmlns:c16="http://schemas.microsoft.com/office/drawing/2014/chart" uri="{C3380CC4-5D6E-409C-BE32-E72D297353CC}">
                <c16:uniqueId val="{00000000-2960-4508-BA80-9CD1D30EF006}"/>
              </c:ext>
            </c:extLst>
          </c:dPt>
          <c:dPt>
            <c:idx val="8"/>
            <c:invertIfNegative val="1"/>
            <c:bubble3D val="0"/>
            <c:extLst>
              <c:ext xmlns:c16="http://schemas.microsoft.com/office/drawing/2014/chart" uri="{C3380CC4-5D6E-409C-BE32-E72D297353CC}">
                <c16:uniqueId val="{00000011-A2FA-4046-9F96-F8B0F3C1321B}"/>
              </c:ext>
            </c:extLst>
          </c:dPt>
          <c:dPt>
            <c:idx val="9"/>
            <c:invertIfNegative val="1"/>
            <c:bubble3D val="0"/>
            <c:extLst>
              <c:ext xmlns:c16="http://schemas.microsoft.com/office/drawing/2014/chart" uri="{C3380CC4-5D6E-409C-BE32-E72D297353CC}">
                <c16:uniqueId val="{00000013-A2FA-4046-9F96-F8B0F3C1321B}"/>
              </c:ext>
            </c:extLst>
          </c:dPt>
          <c:dPt>
            <c:idx val="10"/>
            <c:invertIfNegative val="1"/>
            <c:bubble3D val="0"/>
            <c:extLst>
              <c:ext xmlns:c16="http://schemas.microsoft.com/office/drawing/2014/chart" uri="{C3380CC4-5D6E-409C-BE32-E72D297353CC}">
                <c16:uniqueId val="{00000015-A2FA-4046-9F96-F8B0F3C1321B}"/>
              </c:ext>
            </c:extLst>
          </c:dPt>
          <c:dPt>
            <c:idx val="11"/>
            <c:invertIfNegative val="1"/>
            <c:bubble3D val="0"/>
            <c:extLst>
              <c:ext xmlns:c16="http://schemas.microsoft.com/office/drawing/2014/chart" uri="{C3380CC4-5D6E-409C-BE32-E72D297353CC}">
                <c16:uniqueId val="{00000017-A2FA-4046-9F96-F8B0F3C1321B}"/>
              </c:ext>
            </c:extLst>
          </c:dPt>
          <c:dPt>
            <c:idx val="12"/>
            <c:invertIfNegative val="1"/>
            <c:bubble3D val="0"/>
            <c:extLst>
              <c:ext xmlns:c16="http://schemas.microsoft.com/office/drawing/2014/chart" uri="{C3380CC4-5D6E-409C-BE32-E72D297353CC}">
                <c16:uniqueId val="{00000019-A2FA-4046-9F96-F8B0F3C1321B}"/>
              </c:ext>
            </c:extLst>
          </c:dPt>
          <c:dPt>
            <c:idx val="13"/>
            <c:invertIfNegative val="1"/>
            <c:bubble3D val="0"/>
            <c:extLst>
              <c:ext xmlns:c16="http://schemas.microsoft.com/office/drawing/2014/chart" uri="{C3380CC4-5D6E-409C-BE32-E72D297353CC}">
                <c16:uniqueId val="{0000001B-A2FA-4046-9F96-F8B0F3C1321B}"/>
              </c:ext>
            </c:extLst>
          </c:dPt>
          <c:dPt>
            <c:idx val="14"/>
            <c:invertIfNegative val="1"/>
            <c:bubble3D val="0"/>
            <c:extLst>
              <c:ext xmlns:c16="http://schemas.microsoft.com/office/drawing/2014/chart" uri="{C3380CC4-5D6E-409C-BE32-E72D297353CC}">
                <c16:uniqueId val="{0000001D-A2FA-4046-9F96-F8B0F3C1321B}"/>
              </c:ext>
            </c:extLst>
          </c:dPt>
          <c:dPt>
            <c:idx val="15"/>
            <c:invertIfNegative val="1"/>
            <c:bubble3D val="0"/>
            <c:extLst>
              <c:ext xmlns:c16="http://schemas.microsoft.com/office/drawing/2014/chart" uri="{C3380CC4-5D6E-409C-BE32-E72D297353CC}">
                <c16:uniqueId val="{0000001F-A2FA-4046-9F96-F8B0F3C1321B}"/>
              </c:ext>
            </c:extLst>
          </c:dPt>
          <c:dPt>
            <c:idx val="16"/>
            <c:invertIfNegative val="1"/>
            <c:bubble3D val="0"/>
            <c:extLst>
              <c:ext xmlns:c16="http://schemas.microsoft.com/office/drawing/2014/chart" uri="{C3380CC4-5D6E-409C-BE32-E72D297353CC}">
                <c16:uniqueId val="{00000021-A2FA-4046-9F96-F8B0F3C1321B}"/>
              </c:ext>
            </c:extLst>
          </c:dPt>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25.8%</a:t>
                    </a:r>
                  </a:p>
                </c:rich>
              </c:tx>
              <c:dLblPos val="ctr"/>
              <c:showLegendKey val="0"/>
              <c:showVal val="1"/>
              <c:showCatName val="0"/>
              <c:showSerName val="0"/>
              <c:showPercent val="0"/>
              <c:showBubbleSize val="0"/>
            </c:dLbl>
            <c:dLbl>
              <c:idx val="2"/>
              <c:tx>
                <c:rich>
                  <a:bodyPr/>
                  <a:lstStyle/>
                  <a:p>
                    <a:pPr>
                      <a:defRPr sz="800">
                        <a:latin typeface="Nexa Book"/>
                      </a:defRPr>
                    </a:pPr>
                    <a:r>
                      <a:t>+20.0%</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0.0</c:v>
                </c:pt>
                <c:pt idx="1">
                  <c:v>0.25839999999999996</c:v>
                </c:pt>
                <c:pt idx="2">
                  <c:v>0.20049999999999998</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0-DCEF-4AAE-B747-39856A6177F4}"/>
              </c:ext>
            </c:extLst>
          </c:dPt>
          <c:dPt>
            <c:idx val="1"/>
            <c:invertIfNegative val="1"/>
            <c:bubble3D val="0"/>
            <c:extLst>
              <c:ext xmlns:c16="http://schemas.microsoft.com/office/drawing/2014/chart" uri="{C3380CC4-5D6E-409C-BE32-E72D297353CC}">
                <c16:uniqueId val="{00000003-ECF2-4774-A9B3-59BCC6837E98}"/>
              </c:ext>
            </c:extLst>
          </c:dPt>
          <c:dPt>
            <c:idx val="2"/>
            <c:invertIfNegative val="1"/>
            <c:bubble3D val="0"/>
            <c:extLst>
              <c:ext xmlns:c16="http://schemas.microsoft.com/office/drawing/2014/chart" uri="{C3380CC4-5D6E-409C-BE32-E72D297353CC}">
                <c16:uniqueId val="{00000005-ECF2-4774-A9B3-59BCC6837E98}"/>
              </c:ext>
            </c:extLst>
          </c:dPt>
          <c:dPt>
            <c:idx val="3"/>
            <c:invertIfNegative val="1"/>
            <c:bubble3D val="0"/>
            <c:extLst>
              <c:ext xmlns:c16="http://schemas.microsoft.com/office/drawing/2014/chart" uri="{C3380CC4-5D6E-409C-BE32-E72D297353CC}">
                <c16:uniqueId val="{00000001-DCEF-4AAE-B747-39856A6177F4}"/>
              </c:ext>
            </c:extLst>
          </c:dPt>
          <c:dPt>
            <c:idx val="4"/>
            <c:invertIfNegative val="1"/>
            <c:bubble3D val="0"/>
            <c:extLst>
              <c:ext xmlns:c16="http://schemas.microsoft.com/office/drawing/2014/chart" uri="{C3380CC4-5D6E-409C-BE32-E72D297353CC}">
                <c16:uniqueId val="{00000009-ECF2-4774-A9B3-59BCC6837E98}"/>
              </c:ext>
            </c:extLst>
          </c:dPt>
          <c:dPt>
            <c:idx val="5"/>
            <c:invertIfNegative val="1"/>
            <c:bubble3D val="0"/>
            <c:extLst>
              <c:ext xmlns:c16="http://schemas.microsoft.com/office/drawing/2014/chart" uri="{C3380CC4-5D6E-409C-BE32-E72D297353CC}">
                <c16:uniqueId val="{0000000B-ECF2-4774-A9B3-59BCC6837E98}"/>
              </c:ext>
            </c:extLst>
          </c:dPt>
          <c:dPt>
            <c:idx val="6"/>
            <c:invertIfNegative val="1"/>
            <c:bubble3D val="0"/>
            <c:extLst>
              <c:ext xmlns:c16="http://schemas.microsoft.com/office/drawing/2014/chart" uri="{C3380CC4-5D6E-409C-BE32-E72D297353CC}">
                <c16:uniqueId val="{0000000D-ECF2-4774-A9B3-59BCC6837E98}"/>
              </c:ext>
            </c:extLst>
          </c:dPt>
          <c:dPt>
            <c:idx val="7"/>
            <c:invertIfNegative val="1"/>
            <c:bubble3D val="0"/>
            <c:extLst>
              <c:ext xmlns:c16="http://schemas.microsoft.com/office/drawing/2014/chart" uri="{C3380CC4-5D6E-409C-BE32-E72D297353CC}">
                <c16:uniqueId val="{00000002-DCEF-4AAE-B747-39856A6177F4}"/>
              </c:ext>
            </c:extLst>
          </c:dPt>
          <c:dPt>
            <c:idx val="8"/>
            <c:invertIfNegative val="1"/>
            <c:bubble3D val="0"/>
            <c:extLst>
              <c:ext xmlns:c16="http://schemas.microsoft.com/office/drawing/2014/chart" uri="{C3380CC4-5D6E-409C-BE32-E72D297353CC}">
                <c16:uniqueId val="{00000011-ECF2-4774-A9B3-59BCC6837E98}"/>
              </c:ext>
            </c:extLst>
          </c:dPt>
          <c:dPt>
            <c:idx val="9"/>
            <c:invertIfNegative val="1"/>
            <c:bubble3D val="0"/>
            <c:extLst>
              <c:ext xmlns:c16="http://schemas.microsoft.com/office/drawing/2014/chart" uri="{C3380CC4-5D6E-409C-BE32-E72D297353CC}">
                <c16:uniqueId val="{00000013-ECF2-4774-A9B3-59BCC6837E98}"/>
              </c:ext>
            </c:extLst>
          </c:dPt>
          <c:dPt>
            <c:idx val="10"/>
            <c:invertIfNegative val="1"/>
            <c:bubble3D val="0"/>
            <c:extLst>
              <c:ext xmlns:c16="http://schemas.microsoft.com/office/drawing/2014/chart" uri="{C3380CC4-5D6E-409C-BE32-E72D297353CC}">
                <c16:uniqueId val="{00000015-ECF2-4774-A9B3-59BCC6837E98}"/>
              </c:ext>
            </c:extLst>
          </c:dPt>
          <c:dPt>
            <c:idx val="11"/>
            <c:invertIfNegative val="1"/>
            <c:bubble3D val="0"/>
            <c:extLst>
              <c:ext xmlns:c16="http://schemas.microsoft.com/office/drawing/2014/chart" uri="{C3380CC4-5D6E-409C-BE32-E72D297353CC}">
                <c16:uniqueId val="{00000017-ECF2-4774-A9B3-59BCC6837E98}"/>
              </c:ext>
            </c:extLst>
          </c:dPt>
          <c:dPt>
            <c:idx val="12"/>
            <c:invertIfNegative val="1"/>
            <c:bubble3D val="0"/>
            <c:extLst>
              <c:ext xmlns:c16="http://schemas.microsoft.com/office/drawing/2014/chart" uri="{C3380CC4-5D6E-409C-BE32-E72D297353CC}">
                <c16:uniqueId val="{00000019-ECF2-4774-A9B3-59BCC6837E98}"/>
              </c:ext>
            </c:extLst>
          </c:dPt>
          <c:dPt>
            <c:idx val="13"/>
            <c:invertIfNegative val="1"/>
            <c:bubble3D val="0"/>
            <c:extLst>
              <c:ext xmlns:c16="http://schemas.microsoft.com/office/drawing/2014/chart" uri="{C3380CC4-5D6E-409C-BE32-E72D297353CC}">
                <c16:uniqueId val="{0000001B-ECF2-4774-A9B3-59BCC6837E98}"/>
              </c:ext>
            </c:extLst>
          </c:dPt>
          <c:dPt>
            <c:idx val="14"/>
            <c:invertIfNegative val="1"/>
            <c:bubble3D val="0"/>
            <c:extLst>
              <c:ext xmlns:c16="http://schemas.microsoft.com/office/drawing/2014/chart" uri="{C3380CC4-5D6E-409C-BE32-E72D297353CC}">
                <c16:uniqueId val="{0000001D-ECF2-4774-A9B3-59BCC6837E98}"/>
              </c:ext>
            </c:extLst>
          </c:dPt>
          <c:dPt>
            <c:idx val="15"/>
            <c:invertIfNegative val="1"/>
            <c:bubble3D val="0"/>
            <c:extLst>
              <c:ext xmlns:c16="http://schemas.microsoft.com/office/drawing/2014/chart" uri="{C3380CC4-5D6E-409C-BE32-E72D297353CC}">
                <c16:uniqueId val="{0000001F-ECF2-4774-A9B3-59BCC6837E98}"/>
              </c:ext>
            </c:extLst>
          </c:dPt>
          <c:dPt>
            <c:idx val="16"/>
            <c:invertIfNegative val="1"/>
            <c:bubble3D val="0"/>
            <c:extLst>
              <c:ext xmlns:c16="http://schemas.microsoft.com/office/drawing/2014/chart" uri="{C3380CC4-5D6E-409C-BE32-E72D297353CC}">
                <c16:uniqueId val="{00000021-ECF2-4774-A9B3-59BCC6837E98}"/>
              </c:ext>
            </c:extLst>
          </c:dPt>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19.6%</a:t>
                    </a:r>
                  </a:p>
                </c:rich>
              </c:tx>
              <c:dLblPos val="ctr"/>
              <c:showLegendKey val="0"/>
              <c:showVal val="1"/>
              <c:showCatName val="0"/>
              <c:showSerName val="0"/>
              <c:showPercent val="0"/>
              <c:showBubbleSize val="0"/>
            </c:dLbl>
            <c:dLbl>
              <c:idx val="2"/>
              <c:tx>
                <c:rich>
                  <a:bodyPr/>
                  <a:lstStyle/>
                  <a:p>
                    <a:pPr>
                      <a:defRPr sz="800">
                        <a:latin typeface="Nexa Book"/>
                      </a:defRPr>
                    </a:pPr>
                    <a:r>
                      <a:t>+21.3%</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0.0</c:v>
                </c:pt>
                <c:pt idx="1">
                  <c:v>0.19639999999999996</c:v>
                </c:pt>
                <c:pt idx="2">
                  <c:v>0.21259999999999998</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56.1 %</a:t>
                    </a:r>
                  </a:p>
                </c:rich>
              </c:tx>
              <c:dLblPos val="ctr"/>
              <c:showLegendKey val="0"/>
              <c:showVal val="1"/>
              <c:showCatName val="0"/>
              <c:showSerName val="0"/>
              <c:showPercent val="0"/>
              <c:showBubbleSize val="0"/>
            </c:dLbl>
            <c:dLbl>
              <c:idx val="2"/>
              <c:tx>
                <c:rich>
                  <a:bodyPr/>
                  <a:lstStyle/>
                  <a:p>
                    <a:pPr>
                      <a:defRPr sz="800">
                        <a:latin typeface="Nexa Book"/>
                      </a:defRPr>
                    </a:pPr>
                    <a:r>
                      <a:t>43.9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1.0</c:v>
                </c:pt>
                <c:pt idx="1">
                  <c:v>0.5609</c:v>
                </c:pt>
                <c:pt idx="2">
                  <c:v>0.4391</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50.5 %</a:t>
                    </a:r>
                  </a:p>
                </c:rich>
              </c:tx>
              <c:dLblPos val="ctr"/>
              <c:showLegendKey val="0"/>
              <c:showVal val="1"/>
              <c:showCatName val="0"/>
              <c:showSerName val="0"/>
              <c:showPercent val="0"/>
              <c:showBubbleSize val="0"/>
            </c:dLbl>
            <c:dLbl>
              <c:idx val="2"/>
              <c:tx>
                <c:rich>
                  <a:bodyPr/>
                  <a:lstStyle/>
                  <a:p>
                    <a:pPr>
                      <a:defRPr sz="800">
                        <a:latin typeface="Nexa Book"/>
                      </a:defRPr>
                    </a:pPr>
                    <a:r>
                      <a:t>49.5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1.0</c:v>
                </c:pt>
                <c:pt idx="1">
                  <c:v>0.5049</c:v>
                </c:pt>
                <c:pt idx="2">
                  <c:v>0.4951</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396</a:t>
                    </a:r>
                  </a:p>
                </c:rich>
              </c:tx>
              <c:dLblPos val="ctr"/>
              <c:showLegendKey val="0"/>
              <c:showVal val="1"/>
              <c:showCatName val="0"/>
              <c:showSerName val="0"/>
              <c:showPercent val="0"/>
              <c:showBubbleSize val="0"/>
            </c:dLbl>
            <c:dLbl>
              <c:idx val="1"/>
              <c:tx>
                <c:rich>
                  <a:bodyPr/>
                  <a:lstStyle/>
                  <a:p>
                    <a:pPr>
                      <a:defRPr sz="800">
                        <a:latin typeface="Nexa Book"/>
                      </a:defRPr>
                    </a:pPr>
                    <a:r>
                      <a:t>222</a:t>
                    </a:r>
                  </a:p>
                </c:rich>
              </c:tx>
              <c:dLblPos val="ctr"/>
              <c:showLegendKey val="0"/>
              <c:showVal val="1"/>
              <c:showCatName val="0"/>
              <c:showSerName val="0"/>
              <c:showPercent val="0"/>
              <c:showBubbleSize val="0"/>
            </c:dLbl>
            <c:dLbl>
              <c:idx val="2"/>
              <c:tx>
                <c:rich>
                  <a:bodyPr/>
                  <a:lstStyle/>
                  <a:p>
                    <a:pPr>
                      <a:defRPr sz="800">
                        <a:latin typeface="Nexa Book"/>
                      </a:defRPr>
                    </a:pPr>
                    <a:r>
                      <a:t>174</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395622522.0</c:v>
                </c:pt>
                <c:pt idx="1">
                  <c:v>221891116.0</c:v>
                </c:pt>
                <c:pt idx="2">
                  <c:v>173731406.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9</a:t>
                    </a:r>
                  </a:p>
                </c:rich>
              </c:tx>
              <c:dLblPos val="ctr"/>
              <c:showLegendKey val="0"/>
              <c:showVal val="1"/>
              <c:showCatName val="0"/>
              <c:showSerName val="0"/>
              <c:showPercent val="0"/>
              <c:showBubbleSize val="0"/>
            </c:dLbl>
            <c:dLbl>
              <c:idx val="1"/>
              <c:tx>
                <c:rich>
                  <a:bodyPr/>
                  <a:lstStyle/>
                  <a:p>
                    <a:pPr>
                      <a:defRPr sz="800">
                        <a:latin typeface="Nexa Book"/>
                      </a:defRPr>
                    </a:pPr>
                    <a:r>
                      <a:t>4</a:t>
                    </a:r>
                  </a:p>
                </c:rich>
              </c:tx>
              <c:dLblPos val="ctr"/>
              <c:showLegendKey val="0"/>
              <c:showVal val="1"/>
              <c:showCatName val="0"/>
              <c:showSerName val="0"/>
              <c:showPercent val="0"/>
              <c:showBubbleSize val="0"/>
            </c:dLbl>
            <c:dLbl>
              <c:idx val="2"/>
              <c:tx>
                <c:rich>
                  <a:bodyPr/>
                  <a:lstStyle/>
                  <a:p>
                    <a:pPr>
                      <a:defRPr sz="800">
                        <a:latin typeface="Nexa Book"/>
                      </a:defRPr>
                    </a:pPr>
                    <a:r>
                      <a:t>4</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8566195.0</c:v>
                </c:pt>
                <c:pt idx="1">
                  <c:v>4325240.0</c:v>
                </c:pt>
                <c:pt idx="2">
                  <c:v>4240955.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1-2960-4508-BA80-9CD1D30EF006}"/>
              </c:ext>
            </c:extLst>
          </c:dPt>
          <c:dPt>
            <c:idx val="1"/>
            <c:invertIfNegative val="1"/>
            <c:bubble3D val="0"/>
            <c:extLst>
              <c:ext xmlns:c16="http://schemas.microsoft.com/office/drawing/2014/chart" uri="{C3380CC4-5D6E-409C-BE32-E72D297353CC}">
                <c16:uniqueId val="{00000003-A2FA-4046-9F96-F8B0F3C1321B}"/>
              </c:ext>
            </c:extLst>
          </c:dPt>
          <c:dPt>
            <c:idx val="2"/>
            <c:invertIfNegative val="1"/>
            <c:bubble3D val="0"/>
            <c:extLst>
              <c:ext xmlns:c16="http://schemas.microsoft.com/office/drawing/2014/chart" uri="{C3380CC4-5D6E-409C-BE32-E72D297353CC}">
                <c16:uniqueId val="{00000005-A2FA-4046-9F96-F8B0F3C1321B}"/>
              </c:ext>
            </c:extLst>
          </c:dPt>
          <c:dPt>
            <c:idx val="3"/>
            <c:invertIfNegative val="1"/>
            <c:bubble3D val="0"/>
            <c:extLst>
              <c:ext xmlns:c16="http://schemas.microsoft.com/office/drawing/2014/chart" uri="{C3380CC4-5D6E-409C-BE32-E72D297353CC}">
                <c16:uniqueId val="{00000002-2960-4508-BA80-9CD1D30EF006}"/>
              </c:ext>
            </c:extLst>
          </c:dPt>
          <c:dPt>
            <c:idx val="4"/>
            <c:invertIfNegative val="1"/>
            <c:bubble3D val="0"/>
            <c:extLst>
              <c:ext xmlns:c16="http://schemas.microsoft.com/office/drawing/2014/chart" uri="{C3380CC4-5D6E-409C-BE32-E72D297353CC}">
                <c16:uniqueId val="{00000009-A2FA-4046-9F96-F8B0F3C1321B}"/>
              </c:ext>
            </c:extLst>
          </c:dPt>
          <c:dPt>
            <c:idx val="5"/>
            <c:invertIfNegative val="1"/>
            <c:bubble3D val="0"/>
            <c:extLst>
              <c:ext xmlns:c16="http://schemas.microsoft.com/office/drawing/2014/chart" uri="{C3380CC4-5D6E-409C-BE32-E72D297353CC}">
                <c16:uniqueId val="{0000000B-A2FA-4046-9F96-F8B0F3C1321B}"/>
              </c:ext>
            </c:extLst>
          </c:dPt>
          <c:dPt>
            <c:idx val="6"/>
            <c:invertIfNegative val="1"/>
            <c:bubble3D val="0"/>
            <c:extLst>
              <c:ext xmlns:c16="http://schemas.microsoft.com/office/drawing/2014/chart" uri="{C3380CC4-5D6E-409C-BE32-E72D297353CC}">
                <c16:uniqueId val="{0000000D-A2FA-4046-9F96-F8B0F3C1321B}"/>
              </c:ext>
            </c:extLst>
          </c:dPt>
          <c:dPt>
            <c:idx val="7"/>
            <c:invertIfNegative val="1"/>
            <c:bubble3D val="0"/>
            <c:extLst>
              <c:ext xmlns:c16="http://schemas.microsoft.com/office/drawing/2014/chart" uri="{C3380CC4-5D6E-409C-BE32-E72D297353CC}">
                <c16:uniqueId val="{00000000-2960-4508-BA80-9CD1D30EF006}"/>
              </c:ext>
            </c:extLst>
          </c:dPt>
          <c:dPt>
            <c:idx val="8"/>
            <c:invertIfNegative val="1"/>
            <c:bubble3D val="0"/>
            <c:extLst>
              <c:ext xmlns:c16="http://schemas.microsoft.com/office/drawing/2014/chart" uri="{C3380CC4-5D6E-409C-BE32-E72D297353CC}">
                <c16:uniqueId val="{00000011-A2FA-4046-9F96-F8B0F3C1321B}"/>
              </c:ext>
            </c:extLst>
          </c:dPt>
          <c:dPt>
            <c:idx val="9"/>
            <c:invertIfNegative val="1"/>
            <c:bubble3D val="0"/>
            <c:extLst>
              <c:ext xmlns:c16="http://schemas.microsoft.com/office/drawing/2014/chart" uri="{C3380CC4-5D6E-409C-BE32-E72D297353CC}">
                <c16:uniqueId val="{00000013-A2FA-4046-9F96-F8B0F3C1321B}"/>
              </c:ext>
            </c:extLst>
          </c:dPt>
          <c:dPt>
            <c:idx val="10"/>
            <c:invertIfNegative val="1"/>
            <c:bubble3D val="0"/>
            <c:extLst>
              <c:ext xmlns:c16="http://schemas.microsoft.com/office/drawing/2014/chart" uri="{C3380CC4-5D6E-409C-BE32-E72D297353CC}">
                <c16:uniqueId val="{00000015-A2FA-4046-9F96-F8B0F3C1321B}"/>
              </c:ext>
            </c:extLst>
          </c:dPt>
          <c:dPt>
            <c:idx val="11"/>
            <c:invertIfNegative val="1"/>
            <c:bubble3D val="0"/>
            <c:extLst>
              <c:ext xmlns:c16="http://schemas.microsoft.com/office/drawing/2014/chart" uri="{C3380CC4-5D6E-409C-BE32-E72D297353CC}">
                <c16:uniqueId val="{00000017-A2FA-4046-9F96-F8B0F3C1321B}"/>
              </c:ext>
            </c:extLst>
          </c:dPt>
          <c:dPt>
            <c:idx val="12"/>
            <c:invertIfNegative val="1"/>
            <c:bubble3D val="0"/>
            <c:extLst>
              <c:ext xmlns:c16="http://schemas.microsoft.com/office/drawing/2014/chart" uri="{C3380CC4-5D6E-409C-BE32-E72D297353CC}">
                <c16:uniqueId val="{00000019-A2FA-4046-9F96-F8B0F3C1321B}"/>
              </c:ext>
            </c:extLst>
          </c:dPt>
          <c:dPt>
            <c:idx val="13"/>
            <c:invertIfNegative val="1"/>
            <c:bubble3D val="0"/>
            <c:extLst>
              <c:ext xmlns:c16="http://schemas.microsoft.com/office/drawing/2014/chart" uri="{C3380CC4-5D6E-409C-BE32-E72D297353CC}">
                <c16:uniqueId val="{0000001B-A2FA-4046-9F96-F8B0F3C1321B}"/>
              </c:ext>
            </c:extLst>
          </c:dPt>
          <c:dPt>
            <c:idx val="14"/>
            <c:invertIfNegative val="1"/>
            <c:bubble3D val="0"/>
            <c:extLst>
              <c:ext xmlns:c16="http://schemas.microsoft.com/office/drawing/2014/chart" uri="{C3380CC4-5D6E-409C-BE32-E72D297353CC}">
                <c16:uniqueId val="{0000001D-A2FA-4046-9F96-F8B0F3C1321B}"/>
              </c:ext>
            </c:extLst>
          </c:dPt>
          <c:dPt>
            <c:idx val="15"/>
            <c:invertIfNegative val="1"/>
            <c:bubble3D val="0"/>
            <c:extLst>
              <c:ext xmlns:c16="http://schemas.microsoft.com/office/drawing/2014/chart" uri="{C3380CC4-5D6E-409C-BE32-E72D297353CC}">
                <c16:uniqueId val="{0000001F-A2FA-4046-9F96-F8B0F3C1321B}"/>
              </c:ext>
            </c:extLst>
          </c:dPt>
          <c:dPt>
            <c:idx val="16"/>
            <c:invertIfNegative val="1"/>
            <c:bubble3D val="0"/>
            <c:extLst>
              <c:ext xmlns:c16="http://schemas.microsoft.com/office/drawing/2014/chart" uri="{C3380CC4-5D6E-409C-BE32-E72D297353CC}">
                <c16:uniqueId val="{00000021-A2FA-4046-9F96-F8B0F3C1321B}"/>
              </c:ext>
            </c:extLst>
          </c:dPt>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25.8%</a:t>
                    </a:r>
                  </a:p>
                </c:rich>
              </c:tx>
              <c:dLblPos val="ctr"/>
              <c:showLegendKey val="0"/>
              <c:showVal val="1"/>
              <c:showCatName val="0"/>
              <c:showSerName val="0"/>
              <c:showPercent val="0"/>
              <c:showBubbleSize val="0"/>
            </c:dLbl>
            <c:dLbl>
              <c:idx val="2"/>
              <c:tx>
                <c:rich>
                  <a:bodyPr/>
                  <a:lstStyle/>
                  <a:p>
                    <a:pPr>
                      <a:defRPr sz="800">
                        <a:latin typeface="Nexa Book"/>
                      </a:defRPr>
                    </a:pPr>
                    <a:r>
                      <a:t>+20.0%</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0.0</c:v>
                </c:pt>
                <c:pt idx="1">
                  <c:v>0.25839999999999996</c:v>
                </c:pt>
                <c:pt idx="2">
                  <c:v>0.20049999999999998</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0-DCEF-4AAE-B747-39856A6177F4}"/>
              </c:ext>
            </c:extLst>
          </c:dPt>
          <c:dPt>
            <c:idx val="1"/>
            <c:invertIfNegative val="1"/>
            <c:bubble3D val="0"/>
            <c:extLst>
              <c:ext xmlns:c16="http://schemas.microsoft.com/office/drawing/2014/chart" uri="{C3380CC4-5D6E-409C-BE32-E72D297353CC}">
                <c16:uniqueId val="{00000003-ECF2-4774-A9B3-59BCC6837E98}"/>
              </c:ext>
            </c:extLst>
          </c:dPt>
          <c:dPt>
            <c:idx val="2"/>
            <c:invertIfNegative val="1"/>
            <c:bubble3D val="0"/>
            <c:extLst>
              <c:ext xmlns:c16="http://schemas.microsoft.com/office/drawing/2014/chart" uri="{C3380CC4-5D6E-409C-BE32-E72D297353CC}">
                <c16:uniqueId val="{00000005-ECF2-4774-A9B3-59BCC6837E98}"/>
              </c:ext>
            </c:extLst>
          </c:dPt>
          <c:dPt>
            <c:idx val="3"/>
            <c:invertIfNegative val="1"/>
            <c:bubble3D val="0"/>
            <c:extLst>
              <c:ext xmlns:c16="http://schemas.microsoft.com/office/drawing/2014/chart" uri="{C3380CC4-5D6E-409C-BE32-E72D297353CC}">
                <c16:uniqueId val="{00000001-DCEF-4AAE-B747-39856A6177F4}"/>
              </c:ext>
            </c:extLst>
          </c:dPt>
          <c:dPt>
            <c:idx val="4"/>
            <c:invertIfNegative val="1"/>
            <c:bubble3D val="0"/>
            <c:extLst>
              <c:ext xmlns:c16="http://schemas.microsoft.com/office/drawing/2014/chart" uri="{C3380CC4-5D6E-409C-BE32-E72D297353CC}">
                <c16:uniqueId val="{00000009-ECF2-4774-A9B3-59BCC6837E98}"/>
              </c:ext>
            </c:extLst>
          </c:dPt>
          <c:dPt>
            <c:idx val="5"/>
            <c:invertIfNegative val="1"/>
            <c:bubble3D val="0"/>
            <c:extLst>
              <c:ext xmlns:c16="http://schemas.microsoft.com/office/drawing/2014/chart" uri="{C3380CC4-5D6E-409C-BE32-E72D297353CC}">
                <c16:uniqueId val="{0000000B-ECF2-4774-A9B3-59BCC6837E98}"/>
              </c:ext>
            </c:extLst>
          </c:dPt>
          <c:dPt>
            <c:idx val="6"/>
            <c:invertIfNegative val="1"/>
            <c:bubble3D val="0"/>
            <c:extLst>
              <c:ext xmlns:c16="http://schemas.microsoft.com/office/drawing/2014/chart" uri="{C3380CC4-5D6E-409C-BE32-E72D297353CC}">
                <c16:uniqueId val="{0000000D-ECF2-4774-A9B3-59BCC6837E98}"/>
              </c:ext>
            </c:extLst>
          </c:dPt>
          <c:dPt>
            <c:idx val="7"/>
            <c:invertIfNegative val="1"/>
            <c:bubble3D val="0"/>
            <c:extLst>
              <c:ext xmlns:c16="http://schemas.microsoft.com/office/drawing/2014/chart" uri="{C3380CC4-5D6E-409C-BE32-E72D297353CC}">
                <c16:uniqueId val="{00000002-DCEF-4AAE-B747-39856A6177F4}"/>
              </c:ext>
            </c:extLst>
          </c:dPt>
          <c:dPt>
            <c:idx val="8"/>
            <c:invertIfNegative val="1"/>
            <c:bubble3D val="0"/>
            <c:extLst>
              <c:ext xmlns:c16="http://schemas.microsoft.com/office/drawing/2014/chart" uri="{C3380CC4-5D6E-409C-BE32-E72D297353CC}">
                <c16:uniqueId val="{00000011-ECF2-4774-A9B3-59BCC6837E98}"/>
              </c:ext>
            </c:extLst>
          </c:dPt>
          <c:dPt>
            <c:idx val="9"/>
            <c:invertIfNegative val="1"/>
            <c:bubble3D val="0"/>
            <c:extLst>
              <c:ext xmlns:c16="http://schemas.microsoft.com/office/drawing/2014/chart" uri="{C3380CC4-5D6E-409C-BE32-E72D297353CC}">
                <c16:uniqueId val="{00000013-ECF2-4774-A9B3-59BCC6837E98}"/>
              </c:ext>
            </c:extLst>
          </c:dPt>
          <c:dPt>
            <c:idx val="10"/>
            <c:invertIfNegative val="1"/>
            <c:bubble3D val="0"/>
            <c:extLst>
              <c:ext xmlns:c16="http://schemas.microsoft.com/office/drawing/2014/chart" uri="{C3380CC4-5D6E-409C-BE32-E72D297353CC}">
                <c16:uniqueId val="{00000015-ECF2-4774-A9B3-59BCC6837E98}"/>
              </c:ext>
            </c:extLst>
          </c:dPt>
          <c:dPt>
            <c:idx val="11"/>
            <c:invertIfNegative val="1"/>
            <c:bubble3D val="0"/>
            <c:extLst>
              <c:ext xmlns:c16="http://schemas.microsoft.com/office/drawing/2014/chart" uri="{C3380CC4-5D6E-409C-BE32-E72D297353CC}">
                <c16:uniqueId val="{00000017-ECF2-4774-A9B3-59BCC6837E98}"/>
              </c:ext>
            </c:extLst>
          </c:dPt>
          <c:dPt>
            <c:idx val="12"/>
            <c:invertIfNegative val="1"/>
            <c:bubble3D val="0"/>
            <c:extLst>
              <c:ext xmlns:c16="http://schemas.microsoft.com/office/drawing/2014/chart" uri="{C3380CC4-5D6E-409C-BE32-E72D297353CC}">
                <c16:uniqueId val="{00000019-ECF2-4774-A9B3-59BCC6837E98}"/>
              </c:ext>
            </c:extLst>
          </c:dPt>
          <c:dPt>
            <c:idx val="13"/>
            <c:invertIfNegative val="1"/>
            <c:bubble3D val="0"/>
            <c:extLst>
              <c:ext xmlns:c16="http://schemas.microsoft.com/office/drawing/2014/chart" uri="{C3380CC4-5D6E-409C-BE32-E72D297353CC}">
                <c16:uniqueId val="{0000001B-ECF2-4774-A9B3-59BCC6837E98}"/>
              </c:ext>
            </c:extLst>
          </c:dPt>
          <c:dPt>
            <c:idx val="14"/>
            <c:invertIfNegative val="1"/>
            <c:bubble3D val="0"/>
            <c:extLst>
              <c:ext xmlns:c16="http://schemas.microsoft.com/office/drawing/2014/chart" uri="{C3380CC4-5D6E-409C-BE32-E72D297353CC}">
                <c16:uniqueId val="{0000001D-ECF2-4774-A9B3-59BCC6837E98}"/>
              </c:ext>
            </c:extLst>
          </c:dPt>
          <c:dPt>
            <c:idx val="15"/>
            <c:invertIfNegative val="1"/>
            <c:bubble3D val="0"/>
            <c:extLst>
              <c:ext xmlns:c16="http://schemas.microsoft.com/office/drawing/2014/chart" uri="{C3380CC4-5D6E-409C-BE32-E72D297353CC}">
                <c16:uniqueId val="{0000001F-ECF2-4774-A9B3-59BCC6837E98}"/>
              </c:ext>
            </c:extLst>
          </c:dPt>
          <c:dPt>
            <c:idx val="16"/>
            <c:invertIfNegative val="1"/>
            <c:bubble3D val="0"/>
            <c:extLst>
              <c:ext xmlns:c16="http://schemas.microsoft.com/office/drawing/2014/chart" uri="{C3380CC4-5D6E-409C-BE32-E72D297353CC}">
                <c16:uniqueId val="{00000021-ECF2-4774-A9B3-59BCC6837E98}"/>
              </c:ext>
            </c:extLst>
          </c:dPt>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21.3%</a:t>
                    </a:r>
                  </a:p>
                </c:rich>
              </c:tx>
              <c:dLblPos val="ctr"/>
              <c:showLegendKey val="0"/>
              <c:showVal val="1"/>
              <c:showCatName val="0"/>
              <c:showSerName val="0"/>
              <c:showPercent val="0"/>
              <c:showBubbleSize val="0"/>
            </c:dLbl>
            <c:dLbl>
              <c:idx val="2"/>
              <c:tx>
                <c:rich>
                  <a:bodyPr/>
                  <a:lstStyle/>
                  <a:p>
                    <a:pPr>
                      <a:defRPr sz="800">
                        <a:latin typeface="Nexa Book"/>
                      </a:defRPr>
                    </a:pPr>
                    <a:r>
                      <a:t>+15.8%</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0.0</c:v>
                </c:pt>
                <c:pt idx="1">
                  <c:v>0.2127</c:v>
                </c:pt>
                <c:pt idx="2">
                  <c:v>0.158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56.1 %</a:t>
                    </a:r>
                  </a:p>
                </c:rich>
              </c:tx>
              <c:dLblPos val="ctr"/>
              <c:showLegendKey val="0"/>
              <c:showVal val="1"/>
              <c:showCatName val="0"/>
              <c:showSerName val="0"/>
              <c:showPercent val="0"/>
              <c:showBubbleSize val="0"/>
            </c:dLbl>
            <c:dLbl>
              <c:idx val="2"/>
              <c:tx>
                <c:rich>
                  <a:bodyPr/>
                  <a:lstStyle/>
                  <a:p>
                    <a:pPr>
                      <a:defRPr sz="800">
                        <a:latin typeface="Nexa Book"/>
                      </a:defRPr>
                    </a:pPr>
                    <a:r>
                      <a:t>43.9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1.0</c:v>
                </c:pt>
                <c:pt idx="1">
                  <c:v>0.5609</c:v>
                </c:pt>
                <c:pt idx="2">
                  <c:v>0.4391</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3901421369950807</c:v>
                </c:pt>
                <c:pt idx="1">
                  <c:v>0.06678310656163113</c:v>
                </c:pt>
                <c:pt idx="2">
                  <c:v>0.05684142106119834</c:v>
                </c:pt>
                <c:pt idx="3">
                  <c:v>0.04962150596996838</c:v>
                </c:pt>
                <c:pt idx="4">
                  <c:v>0.04755446461994327</c:v>
                </c:pt>
                <c:pt idx="5">
                  <c:v>0.04280581831013329</c:v>
                </c:pt>
                <c:pt idx="6">
                  <c:v>0.03257095611141258</c:v>
                </c:pt>
                <c:pt idx="7">
                  <c:v>0.02732390826331078</c:v>
                </c:pt>
                <c:pt idx="8">
                  <c:v>0.024410986462631862</c:v>
                </c:pt>
                <c:pt idx="9">
                  <c:v>0.3130736189402622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54.9 %</a:t>
                    </a:r>
                  </a:p>
                </c:rich>
              </c:tx>
              <c:dLblPos val="ctr"/>
              <c:showLegendKey val="0"/>
              <c:showVal val="1"/>
              <c:showCatName val="0"/>
              <c:showSerName val="0"/>
              <c:showPercent val="0"/>
              <c:showBubbleSize val="0"/>
            </c:dLbl>
            <c:dLbl>
              <c:idx val="2"/>
              <c:tx>
                <c:rich>
                  <a:bodyPr/>
                  <a:lstStyle/>
                  <a:p>
                    <a:pPr>
                      <a:defRPr sz="800">
                        <a:latin typeface="Nexa Book"/>
                      </a:defRPr>
                    </a:pPr>
                    <a:r>
                      <a:t>45.1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1.0</c:v>
                </c:pt>
                <c:pt idx="1">
                  <c:v>0.549</c:v>
                </c:pt>
                <c:pt idx="2">
                  <c:v>0.451</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396</a:t>
                    </a:r>
                  </a:p>
                </c:rich>
              </c:tx>
              <c:dLblPos val="ctr"/>
              <c:showLegendKey val="0"/>
              <c:showVal val="1"/>
              <c:showCatName val="0"/>
              <c:showSerName val="0"/>
              <c:showPercent val="0"/>
              <c:showBubbleSize val="0"/>
            </c:dLbl>
            <c:dLbl>
              <c:idx val="1"/>
              <c:tx>
                <c:rich>
                  <a:bodyPr/>
                  <a:lstStyle/>
                  <a:p>
                    <a:pPr>
                      <a:defRPr sz="800">
                        <a:latin typeface="Nexa Book"/>
                      </a:defRPr>
                    </a:pPr>
                    <a:r>
                      <a:t>222</a:t>
                    </a:r>
                  </a:p>
                </c:rich>
              </c:tx>
              <c:dLblPos val="ctr"/>
              <c:showLegendKey val="0"/>
              <c:showVal val="1"/>
              <c:showCatName val="0"/>
              <c:showSerName val="0"/>
              <c:showPercent val="0"/>
              <c:showBubbleSize val="0"/>
            </c:dLbl>
            <c:dLbl>
              <c:idx val="2"/>
              <c:tx>
                <c:rich>
                  <a:bodyPr/>
                  <a:lstStyle/>
                  <a:p>
                    <a:pPr>
                      <a:defRPr sz="800">
                        <a:latin typeface="Nexa Book"/>
                      </a:defRPr>
                    </a:pPr>
                    <a:r>
                      <a:t>174</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395622522.0</c:v>
                </c:pt>
                <c:pt idx="1">
                  <c:v>221891116.0</c:v>
                </c:pt>
                <c:pt idx="2">
                  <c:v>173731406.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43</a:t>
                    </a:r>
                  </a:p>
                </c:rich>
              </c:tx>
              <c:dLblPos val="ctr"/>
              <c:showLegendKey val="0"/>
              <c:showVal val="1"/>
              <c:showCatName val="0"/>
              <c:showSerName val="0"/>
              <c:showPercent val="0"/>
              <c:showBubbleSize val="0"/>
            </c:dLbl>
            <c:dLbl>
              <c:idx val="1"/>
              <c:tx>
                <c:rich>
                  <a:bodyPr/>
                  <a:lstStyle/>
                  <a:p>
                    <a:pPr>
                      <a:defRPr sz="800">
                        <a:latin typeface="Nexa Book"/>
                      </a:defRPr>
                    </a:pPr>
                    <a:r>
                      <a:t>24</a:t>
                    </a:r>
                  </a:p>
                </c:rich>
              </c:tx>
              <c:dLblPos val="ctr"/>
              <c:showLegendKey val="0"/>
              <c:showVal val="1"/>
              <c:showCatName val="0"/>
              <c:showSerName val="0"/>
              <c:showPercent val="0"/>
              <c:showBubbleSize val="0"/>
            </c:dLbl>
            <c:dLbl>
              <c:idx val="2"/>
              <c:tx>
                <c:rich>
                  <a:bodyPr/>
                  <a:lstStyle/>
                  <a:p>
                    <a:pPr>
                      <a:defRPr sz="800">
                        <a:latin typeface="Nexa Book"/>
                      </a:defRPr>
                    </a:pPr>
                    <a:r>
                      <a:t>19</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42927577.0</c:v>
                </c:pt>
                <c:pt idx="1">
                  <c:v>23567757.0</c:v>
                </c:pt>
                <c:pt idx="2">
                  <c:v>19359820.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1-2960-4508-BA80-9CD1D30EF006}"/>
              </c:ext>
            </c:extLst>
          </c:dPt>
          <c:dPt>
            <c:idx val="1"/>
            <c:invertIfNegative val="1"/>
            <c:bubble3D val="0"/>
            <c:extLst>
              <c:ext xmlns:c16="http://schemas.microsoft.com/office/drawing/2014/chart" uri="{C3380CC4-5D6E-409C-BE32-E72D297353CC}">
                <c16:uniqueId val="{00000003-A2FA-4046-9F96-F8B0F3C1321B}"/>
              </c:ext>
            </c:extLst>
          </c:dPt>
          <c:dPt>
            <c:idx val="2"/>
            <c:invertIfNegative val="1"/>
            <c:bubble3D val="0"/>
            <c:extLst>
              <c:ext xmlns:c16="http://schemas.microsoft.com/office/drawing/2014/chart" uri="{C3380CC4-5D6E-409C-BE32-E72D297353CC}">
                <c16:uniqueId val="{00000005-A2FA-4046-9F96-F8B0F3C1321B}"/>
              </c:ext>
            </c:extLst>
          </c:dPt>
          <c:dPt>
            <c:idx val="3"/>
            <c:invertIfNegative val="1"/>
            <c:bubble3D val="0"/>
            <c:extLst>
              <c:ext xmlns:c16="http://schemas.microsoft.com/office/drawing/2014/chart" uri="{C3380CC4-5D6E-409C-BE32-E72D297353CC}">
                <c16:uniqueId val="{00000002-2960-4508-BA80-9CD1D30EF006}"/>
              </c:ext>
            </c:extLst>
          </c:dPt>
          <c:dPt>
            <c:idx val="4"/>
            <c:invertIfNegative val="1"/>
            <c:bubble3D val="0"/>
            <c:extLst>
              <c:ext xmlns:c16="http://schemas.microsoft.com/office/drawing/2014/chart" uri="{C3380CC4-5D6E-409C-BE32-E72D297353CC}">
                <c16:uniqueId val="{00000009-A2FA-4046-9F96-F8B0F3C1321B}"/>
              </c:ext>
            </c:extLst>
          </c:dPt>
          <c:dPt>
            <c:idx val="5"/>
            <c:invertIfNegative val="1"/>
            <c:bubble3D val="0"/>
            <c:extLst>
              <c:ext xmlns:c16="http://schemas.microsoft.com/office/drawing/2014/chart" uri="{C3380CC4-5D6E-409C-BE32-E72D297353CC}">
                <c16:uniqueId val="{0000000B-A2FA-4046-9F96-F8B0F3C1321B}"/>
              </c:ext>
            </c:extLst>
          </c:dPt>
          <c:dPt>
            <c:idx val="6"/>
            <c:invertIfNegative val="1"/>
            <c:bubble3D val="0"/>
            <c:extLst>
              <c:ext xmlns:c16="http://schemas.microsoft.com/office/drawing/2014/chart" uri="{C3380CC4-5D6E-409C-BE32-E72D297353CC}">
                <c16:uniqueId val="{0000000D-A2FA-4046-9F96-F8B0F3C1321B}"/>
              </c:ext>
            </c:extLst>
          </c:dPt>
          <c:dPt>
            <c:idx val="7"/>
            <c:invertIfNegative val="1"/>
            <c:bubble3D val="0"/>
            <c:extLst>
              <c:ext xmlns:c16="http://schemas.microsoft.com/office/drawing/2014/chart" uri="{C3380CC4-5D6E-409C-BE32-E72D297353CC}">
                <c16:uniqueId val="{00000000-2960-4508-BA80-9CD1D30EF006}"/>
              </c:ext>
            </c:extLst>
          </c:dPt>
          <c:dPt>
            <c:idx val="8"/>
            <c:invertIfNegative val="1"/>
            <c:bubble3D val="0"/>
            <c:extLst>
              <c:ext xmlns:c16="http://schemas.microsoft.com/office/drawing/2014/chart" uri="{C3380CC4-5D6E-409C-BE32-E72D297353CC}">
                <c16:uniqueId val="{00000011-A2FA-4046-9F96-F8B0F3C1321B}"/>
              </c:ext>
            </c:extLst>
          </c:dPt>
          <c:dPt>
            <c:idx val="9"/>
            <c:invertIfNegative val="1"/>
            <c:bubble3D val="0"/>
            <c:extLst>
              <c:ext xmlns:c16="http://schemas.microsoft.com/office/drawing/2014/chart" uri="{C3380CC4-5D6E-409C-BE32-E72D297353CC}">
                <c16:uniqueId val="{00000013-A2FA-4046-9F96-F8B0F3C1321B}"/>
              </c:ext>
            </c:extLst>
          </c:dPt>
          <c:dPt>
            <c:idx val="10"/>
            <c:invertIfNegative val="1"/>
            <c:bubble3D val="0"/>
            <c:extLst>
              <c:ext xmlns:c16="http://schemas.microsoft.com/office/drawing/2014/chart" uri="{C3380CC4-5D6E-409C-BE32-E72D297353CC}">
                <c16:uniqueId val="{00000015-A2FA-4046-9F96-F8B0F3C1321B}"/>
              </c:ext>
            </c:extLst>
          </c:dPt>
          <c:dPt>
            <c:idx val="11"/>
            <c:invertIfNegative val="1"/>
            <c:bubble3D val="0"/>
            <c:extLst>
              <c:ext xmlns:c16="http://schemas.microsoft.com/office/drawing/2014/chart" uri="{C3380CC4-5D6E-409C-BE32-E72D297353CC}">
                <c16:uniqueId val="{00000017-A2FA-4046-9F96-F8B0F3C1321B}"/>
              </c:ext>
            </c:extLst>
          </c:dPt>
          <c:dPt>
            <c:idx val="12"/>
            <c:invertIfNegative val="1"/>
            <c:bubble3D val="0"/>
            <c:extLst>
              <c:ext xmlns:c16="http://schemas.microsoft.com/office/drawing/2014/chart" uri="{C3380CC4-5D6E-409C-BE32-E72D297353CC}">
                <c16:uniqueId val="{00000019-A2FA-4046-9F96-F8B0F3C1321B}"/>
              </c:ext>
            </c:extLst>
          </c:dPt>
          <c:dPt>
            <c:idx val="13"/>
            <c:invertIfNegative val="1"/>
            <c:bubble3D val="0"/>
            <c:extLst>
              <c:ext xmlns:c16="http://schemas.microsoft.com/office/drawing/2014/chart" uri="{C3380CC4-5D6E-409C-BE32-E72D297353CC}">
                <c16:uniqueId val="{0000001B-A2FA-4046-9F96-F8B0F3C1321B}"/>
              </c:ext>
            </c:extLst>
          </c:dPt>
          <c:dPt>
            <c:idx val="14"/>
            <c:invertIfNegative val="1"/>
            <c:bubble3D val="0"/>
            <c:extLst>
              <c:ext xmlns:c16="http://schemas.microsoft.com/office/drawing/2014/chart" uri="{C3380CC4-5D6E-409C-BE32-E72D297353CC}">
                <c16:uniqueId val="{0000001D-A2FA-4046-9F96-F8B0F3C1321B}"/>
              </c:ext>
            </c:extLst>
          </c:dPt>
          <c:dPt>
            <c:idx val="15"/>
            <c:invertIfNegative val="1"/>
            <c:bubble3D val="0"/>
            <c:extLst>
              <c:ext xmlns:c16="http://schemas.microsoft.com/office/drawing/2014/chart" uri="{C3380CC4-5D6E-409C-BE32-E72D297353CC}">
                <c16:uniqueId val="{0000001F-A2FA-4046-9F96-F8B0F3C1321B}"/>
              </c:ext>
            </c:extLst>
          </c:dPt>
          <c:dPt>
            <c:idx val="16"/>
            <c:invertIfNegative val="1"/>
            <c:bubble3D val="0"/>
            <c:extLst>
              <c:ext xmlns:c16="http://schemas.microsoft.com/office/drawing/2014/chart" uri="{C3380CC4-5D6E-409C-BE32-E72D297353CC}">
                <c16:uniqueId val="{00000021-A2FA-4046-9F96-F8B0F3C1321B}"/>
              </c:ext>
            </c:extLst>
          </c:dPt>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25.8%</a:t>
                    </a:r>
                  </a:p>
                </c:rich>
              </c:tx>
              <c:dLblPos val="ctr"/>
              <c:showLegendKey val="0"/>
              <c:showVal val="1"/>
              <c:showCatName val="0"/>
              <c:showSerName val="0"/>
              <c:showPercent val="0"/>
              <c:showBubbleSize val="0"/>
            </c:dLbl>
            <c:dLbl>
              <c:idx val="2"/>
              <c:tx>
                <c:rich>
                  <a:bodyPr/>
                  <a:lstStyle/>
                  <a:p>
                    <a:pPr>
                      <a:defRPr sz="800">
                        <a:latin typeface="Nexa Book"/>
                      </a:defRPr>
                    </a:pPr>
                    <a:r>
                      <a:t>+20.0%</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0.0</c:v>
                </c:pt>
                <c:pt idx="1">
                  <c:v>0.25839999999999996</c:v>
                </c:pt>
                <c:pt idx="2">
                  <c:v>0.20049999999999998</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0-DCEF-4AAE-B747-39856A6177F4}"/>
              </c:ext>
            </c:extLst>
          </c:dPt>
          <c:dPt>
            <c:idx val="1"/>
            <c:invertIfNegative val="1"/>
            <c:bubble3D val="0"/>
            <c:extLst>
              <c:ext xmlns:c16="http://schemas.microsoft.com/office/drawing/2014/chart" uri="{C3380CC4-5D6E-409C-BE32-E72D297353CC}">
                <c16:uniqueId val="{00000003-ECF2-4774-A9B3-59BCC6837E98}"/>
              </c:ext>
            </c:extLst>
          </c:dPt>
          <c:dPt>
            <c:idx val="2"/>
            <c:invertIfNegative val="1"/>
            <c:bubble3D val="0"/>
            <c:extLst>
              <c:ext xmlns:c16="http://schemas.microsoft.com/office/drawing/2014/chart" uri="{C3380CC4-5D6E-409C-BE32-E72D297353CC}">
                <c16:uniqueId val="{00000005-ECF2-4774-A9B3-59BCC6837E98}"/>
              </c:ext>
            </c:extLst>
          </c:dPt>
          <c:dPt>
            <c:idx val="3"/>
            <c:invertIfNegative val="1"/>
            <c:bubble3D val="0"/>
            <c:extLst>
              <c:ext xmlns:c16="http://schemas.microsoft.com/office/drawing/2014/chart" uri="{C3380CC4-5D6E-409C-BE32-E72D297353CC}">
                <c16:uniqueId val="{00000001-DCEF-4AAE-B747-39856A6177F4}"/>
              </c:ext>
            </c:extLst>
          </c:dPt>
          <c:dPt>
            <c:idx val="4"/>
            <c:invertIfNegative val="1"/>
            <c:bubble3D val="0"/>
            <c:extLst>
              <c:ext xmlns:c16="http://schemas.microsoft.com/office/drawing/2014/chart" uri="{C3380CC4-5D6E-409C-BE32-E72D297353CC}">
                <c16:uniqueId val="{00000009-ECF2-4774-A9B3-59BCC6837E98}"/>
              </c:ext>
            </c:extLst>
          </c:dPt>
          <c:dPt>
            <c:idx val="5"/>
            <c:invertIfNegative val="1"/>
            <c:bubble3D val="0"/>
            <c:extLst>
              <c:ext xmlns:c16="http://schemas.microsoft.com/office/drawing/2014/chart" uri="{C3380CC4-5D6E-409C-BE32-E72D297353CC}">
                <c16:uniqueId val="{0000000B-ECF2-4774-A9B3-59BCC6837E98}"/>
              </c:ext>
            </c:extLst>
          </c:dPt>
          <c:dPt>
            <c:idx val="6"/>
            <c:invertIfNegative val="1"/>
            <c:bubble3D val="0"/>
            <c:extLst>
              <c:ext xmlns:c16="http://schemas.microsoft.com/office/drawing/2014/chart" uri="{C3380CC4-5D6E-409C-BE32-E72D297353CC}">
                <c16:uniqueId val="{0000000D-ECF2-4774-A9B3-59BCC6837E98}"/>
              </c:ext>
            </c:extLst>
          </c:dPt>
          <c:dPt>
            <c:idx val="7"/>
            <c:invertIfNegative val="1"/>
            <c:bubble3D val="0"/>
            <c:extLst>
              <c:ext xmlns:c16="http://schemas.microsoft.com/office/drawing/2014/chart" uri="{C3380CC4-5D6E-409C-BE32-E72D297353CC}">
                <c16:uniqueId val="{00000002-DCEF-4AAE-B747-39856A6177F4}"/>
              </c:ext>
            </c:extLst>
          </c:dPt>
          <c:dPt>
            <c:idx val="8"/>
            <c:invertIfNegative val="1"/>
            <c:bubble3D val="0"/>
            <c:extLst>
              <c:ext xmlns:c16="http://schemas.microsoft.com/office/drawing/2014/chart" uri="{C3380CC4-5D6E-409C-BE32-E72D297353CC}">
                <c16:uniqueId val="{00000011-ECF2-4774-A9B3-59BCC6837E98}"/>
              </c:ext>
            </c:extLst>
          </c:dPt>
          <c:dPt>
            <c:idx val="9"/>
            <c:invertIfNegative val="1"/>
            <c:bubble3D val="0"/>
            <c:extLst>
              <c:ext xmlns:c16="http://schemas.microsoft.com/office/drawing/2014/chart" uri="{C3380CC4-5D6E-409C-BE32-E72D297353CC}">
                <c16:uniqueId val="{00000013-ECF2-4774-A9B3-59BCC6837E98}"/>
              </c:ext>
            </c:extLst>
          </c:dPt>
          <c:dPt>
            <c:idx val="10"/>
            <c:invertIfNegative val="1"/>
            <c:bubble3D val="0"/>
            <c:extLst>
              <c:ext xmlns:c16="http://schemas.microsoft.com/office/drawing/2014/chart" uri="{C3380CC4-5D6E-409C-BE32-E72D297353CC}">
                <c16:uniqueId val="{00000015-ECF2-4774-A9B3-59BCC6837E98}"/>
              </c:ext>
            </c:extLst>
          </c:dPt>
          <c:dPt>
            <c:idx val="11"/>
            <c:invertIfNegative val="1"/>
            <c:bubble3D val="0"/>
            <c:extLst>
              <c:ext xmlns:c16="http://schemas.microsoft.com/office/drawing/2014/chart" uri="{C3380CC4-5D6E-409C-BE32-E72D297353CC}">
                <c16:uniqueId val="{00000017-ECF2-4774-A9B3-59BCC6837E98}"/>
              </c:ext>
            </c:extLst>
          </c:dPt>
          <c:dPt>
            <c:idx val="12"/>
            <c:invertIfNegative val="1"/>
            <c:bubble3D val="0"/>
            <c:extLst>
              <c:ext xmlns:c16="http://schemas.microsoft.com/office/drawing/2014/chart" uri="{C3380CC4-5D6E-409C-BE32-E72D297353CC}">
                <c16:uniqueId val="{00000019-ECF2-4774-A9B3-59BCC6837E98}"/>
              </c:ext>
            </c:extLst>
          </c:dPt>
          <c:dPt>
            <c:idx val="13"/>
            <c:invertIfNegative val="1"/>
            <c:bubble3D val="0"/>
            <c:extLst>
              <c:ext xmlns:c16="http://schemas.microsoft.com/office/drawing/2014/chart" uri="{C3380CC4-5D6E-409C-BE32-E72D297353CC}">
                <c16:uniqueId val="{0000001B-ECF2-4774-A9B3-59BCC6837E98}"/>
              </c:ext>
            </c:extLst>
          </c:dPt>
          <c:dPt>
            <c:idx val="14"/>
            <c:invertIfNegative val="1"/>
            <c:bubble3D val="0"/>
            <c:extLst>
              <c:ext xmlns:c16="http://schemas.microsoft.com/office/drawing/2014/chart" uri="{C3380CC4-5D6E-409C-BE32-E72D297353CC}">
                <c16:uniqueId val="{0000001D-ECF2-4774-A9B3-59BCC6837E98}"/>
              </c:ext>
            </c:extLst>
          </c:dPt>
          <c:dPt>
            <c:idx val="15"/>
            <c:invertIfNegative val="1"/>
            <c:bubble3D val="0"/>
            <c:extLst>
              <c:ext xmlns:c16="http://schemas.microsoft.com/office/drawing/2014/chart" uri="{C3380CC4-5D6E-409C-BE32-E72D297353CC}">
                <c16:uniqueId val="{0000001F-ECF2-4774-A9B3-59BCC6837E98}"/>
              </c:ext>
            </c:extLst>
          </c:dPt>
          <c:dPt>
            <c:idx val="16"/>
            <c:invertIfNegative val="1"/>
            <c:bubble3D val="0"/>
            <c:extLst>
              <c:ext xmlns:c16="http://schemas.microsoft.com/office/drawing/2014/chart" uri="{C3380CC4-5D6E-409C-BE32-E72D297353CC}">
                <c16:uniqueId val="{00000021-ECF2-4774-A9B3-59BCC6837E98}"/>
              </c:ext>
            </c:extLst>
          </c:dPt>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22.6%</a:t>
                    </a:r>
                  </a:p>
                </c:rich>
              </c:tx>
              <c:dLblPos val="ctr"/>
              <c:showLegendKey val="0"/>
              <c:showVal val="1"/>
              <c:showCatName val="0"/>
              <c:showSerName val="0"/>
              <c:showPercent val="0"/>
              <c:showBubbleSize val="0"/>
            </c:dLbl>
            <c:dLbl>
              <c:idx val="2"/>
              <c:tx>
                <c:rich>
                  <a:bodyPr/>
                  <a:lstStyle/>
                  <a:p>
                    <a:pPr>
                      <a:defRPr sz="800">
                        <a:latin typeface="Nexa Book"/>
                      </a:defRPr>
                    </a:pPr>
                    <a:r>
                      <a:t>+18.1%</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0.0</c:v>
                </c:pt>
                <c:pt idx="1">
                  <c:v>0.22600000000000003</c:v>
                </c:pt>
                <c:pt idx="2">
                  <c:v>0.1805</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50.7 %</a:t>
                    </a:r>
                  </a:p>
                </c:rich>
              </c:tx>
              <c:dLblPos val="ctr"/>
              <c:showLegendKey val="0"/>
              <c:showVal val="1"/>
              <c:showCatName val="0"/>
              <c:showSerName val="0"/>
              <c:showPercent val="0"/>
              <c:showBubbleSize val="0"/>
            </c:dLbl>
            <c:dLbl>
              <c:idx val="2"/>
              <c:tx>
                <c:rich>
                  <a:bodyPr/>
                  <a:lstStyle/>
                  <a:p>
                    <a:pPr>
                      <a:defRPr sz="800">
                        <a:latin typeface="Nexa Book"/>
                      </a:defRPr>
                    </a:pPr>
                    <a:r>
                      <a:t>49.3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1.0</c:v>
                </c:pt>
                <c:pt idx="1">
                  <c:v>0.507</c:v>
                </c:pt>
                <c:pt idx="2">
                  <c:v>0.49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46.7 %</a:t>
                    </a:r>
                  </a:p>
                </c:rich>
              </c:tx>
              <c:dLblPos val="ctr"/>
              <c:showLegendKey val="0"/>
              <c:showVal val="1"/>
              <c:showCatName val="0"/>
              <c:showSerName val="0"/>
              <c:showPercent val="0"/>
              <c:showBubbleSize val="0"/>
            </c:dLbl>
            <c:dLbl>
              <c:idx val="2"/>
              <c:tx>
                <c:rich>
                  <a:bodyPr/>
                  <a:lstStyle/>
                  <a:p>
                    <a:pPr>
                      <a:defRPr sz="800">
                        <a:latin typeface="Nexa Book"/>
                      </a:defRPr>
                    </a:pPr>
                    <a:r>
                      <a:t>53.3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1.0</c:v>
                </c:pt>
                <c:pt idx="1">
                  <c:v>0.4666</c:v>
                </c:pt>
                <c:pt idx="2">
                  <c:v>0.533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20</a:t>
                    </a:r>
                  </a:p>
                </c:rich>
              </c:tx>
              <c:dLblPos val="ctr"/>
              <c:showLegendKey val="0"/>
              <c:showVal val="1"/>
              <c:showCatName val="0"/>
              <c:showSerName val="0"/>
              <c:showPercent val="0"/>
              <c:showBubbleSize val="0"/>
            </c:dLbl>
            <c:dLbl>
              <c:idx val="1"/>
              <c:tx>
                <c:rich>
                  <a:bodyPr/>
                  <a:lstStyle/>
                  <a:p>
                    <a:pPr>
                      <a:defRPr sz="800">
                        <a:latin typeface="Nexa Book"/>
                      </a:defRPr>
                    </a:pPr>
                    <a:r>
                      <a:t>10</a:t>
                    </a:r>
                  </a:p>
                </c:rich>
              </c:tx>
              <c:dLblPos val="ctr"/>
              <c:showLegendKey val="0"/>
              <c:showVal val="1"/>
              <c:showCatName val="0"/>
              <c:showSerName val="0"/>
              <c:showPercent val="0"/>
              <c:showBubbleSize val="0"/>
            </c:dLbl>
            <c:dLbl>
              <c:idx val="2"/>
              <c:tx>
                <c:rich>
                  <a:bodyPr/>
                  <a:lstStyle/>
                  <a:p>
                    <a:pPr>
                      <a:defRPr sz="800">
                        <a:latin typeface="Nexa Book"/>
                      </a:defRPr>
                    </a:pPr>
                    <a:r>
                      <a:t>10</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20321674.0</c:v>
                </c:pt>
                <c:pt idx="1">
                  <c:v>10303675.0</c:v>
                </c:pt>
                <c:pt idx="2">
                  <c:v>10017999.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2</a:t>
                    </a:r>
                  </a:p>
                </c:rich>
              </c:tx>
              <c:dLblPos val="ctr"/>
              <c:showLegendKey val="0"/>
              <c:showVal val="1"/>
              <c:showCatName val="0"/>
              <c:showSerName val="0"/>
              <c:showPercent val="0"/>
              <c:showBubbleSize val="0"/>
            </c:dLbl>
            <c:dLbl>
              <c:idx val="1"/>
              <c:tx>
                <c:rich>
                  <a:bodyPr/>
                  <a:lstStyle/>
                  <a:p>
                    <a:pPr>
                      <a:defRPr sz="800">
                        <a:latin typeface="Nexa Book"/>
                      </a:defRPr>
                    </a:pPr>
                    <a:r>
                      <a:t>1</a:t>
                    </a:r>
                  </a:p>
                </c:rich>
              </c:tx>
              <c:dLblPos val="ctr"/>
              <c:showLegendKey val="0"/>
              <c:showVal val="1"/>
              <c:showCatName val="0"/>
              <c:showSerName val="0"/>
              <c:showPercent val="0"/>
              <c:showBubbleSize val="0"/>
            </c:dLbl>
            <c:dLbl>
              <c:idx val="2"/>
              <c:tx>
                <c:rich>
                  <a:bodyPr/>
                  <a:lstStyle/>
                  <a:p>
                    <a:pPr>
                      <a:defRPr sz="800">
                        <a:latin typeface="Nexa Book"/>
                      </a:defRPr>
                    </a:pPr>
                    <a:r>
                      <a:t>1</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2208753.0</c:v>
                </c:pt>
                <c:pt idx="1">
                  <c:v>1030688.0</c:v>
                </c:pt>
                <c:pt idx="2">
                  <c:v>1178065.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1-2960-4508-BA80-9CD1D30EF006}"/>
              </c:ext>
            </c:extLst>
          </c:dPt>
          <c:dPt>
            <c:idx val="1"/>
            <c:invertIfNegative val="1"/>
            <c:bubble3D val="0"/>
            <c:extLst>
              <c:ext xmlns:c16="http://schemas.microsoft.com/office/drawing/2014/chart" uri="{C3380CC4-5D6E-409C-BE32-E72D297353CC}">
                <c16:uniqueId val="{00000003-A2FA-4046-9F96-F8B0F3C1321B}"/>
              </c:ext>
            </c:extLst>
          </c:dPt>
          <c:dPt>
            <c:idx val="2"/>
            <c:invertIfNegative val="1"/>
            <c:bubble3D val="0"/>
            <c:extLst>
              <c:ext xmlns:c16="http://schemas.microsoft.com/office/drawing/2014/chart" uri="{C3380CC4-5D6E-409C-BE32-E72D297353CC}">
                <c16:uniqueId val="{00000005-A2FA-4046-9F96-F8B0F3C1321B}"/>
              </c:ext>
            </c:extLst>
          </c:dPt>
          <c:dPt>
            <c:idx val="3"/>
            <c:invertIfNegative val="1"/>
            <c:bubble3D val="0"/>
            <c:extLst>
              <c:ext xmlns:c16="http://schemas.microsoft.com/office/drawing/2014/chart" uri="{C3380CC4-5D6E-409C-BE32-E72D297353CC}">
                <c16:uniqueId val="{00000002-2960-4508-BA80-9CD1D30EF006}"/>
              </c:ext>
            </c:extLst>
          </c:dPt>
          <c:dPt>
            <c:idx val="4"/>
            <c:invertIfNegative val="1"/>
            <c:bubble3D val="0"/>
            <c:extLst>
              <c:ext xmlns:c16="http://schemas.microsoft.com/office/drawing/2014/chart" uri="{C3380CC4-5D6E-409C-BE32-E72D297353CC}">
                <c16:uniqueId val="{00000009-A2FA-4046-9F96-F8B0F3C1321B}"/>
              </c:ext>
            </c:extLst>
          </c:dPt>
          <c:dPt>
            <c:idx val="5"/>
            <c:invertIfNegative val="1"/>
            <c:bubble3D val="0"/>
            <c:extLst>
              <c:ext xmlns:c16="http://schemas.microsoft.com/office/drawing/2014/chart" uri="{C3380CC4-5D6E-409C-BE32-E72D297353CC}">
                <c16:uniqueId val="{0000000B-A2FA-4046-9F96-F8B0F3C1321B}"/>
              </c:ext>
            </c:extLst>
          </c:dPt>
          <c:dPt>
            <c:idx val="6"/>
            <c:invertIfNegative val="1"/>
            <c:bubble3D val="0"/>
            <c:extLst>
              <c:ext xmlns:c16="http://schemas.microsoft.com/office/drawing/2014/chart" uri="{C3380CC4-5D6E-409C-BE32-E72D297353CC}">
                <c16:uniqueId val="{0000000D-A2FA-4046-9F96-F8B0F3C1321B}"/>
              </c:ext>
            </c:extLst>
          </c:dPt>
          <c:dPt>
            <c:idx val="7"/>
            <c:invertIfNegative val="1"/>
            <c:bubble3D val="0"/>
            <c:extLst>
              <c:ext xmlns:c16="http://schemas.microsoft.com/office/drawing/2014/chart" uri="{C3380CC4-5D6E-409C-BE32-E72D297353CC}">
                <c16:uniqueId val="{00000000-2960-4508-BA80-9CD1D30EF006}"/>
              </c:ext>
            </c:extLst>
          </c:dPt>
          <c:dPt>
            <c:idx val="8"/>
            <c:invertIfNegative val="1"/>
            <c:bubble3D val="0"/>
            <c:extLst>
              <c:ext xmlns:c16="http://schemas.microsoft.com/office/drawing/2014/chart" uri="{C3380CC4-5D6E-409C-BE32-E72D297353CC}">
                <c16:uniqueId val="{00000011-A2FA-4046-9F96-F8B0F3C1321B}"/>
              </c:ext>
            </c:extLst>
          </c:dPt>
          <c:dPt>
            <c:idx val="9"/>
            <c:invertIfNegative val="1"/>
            <c:bubble3D val="0"/>
            <c:extLst>
              <c:ext xmlns:c16="http://schemas.microsoft.com/office/drawing/2014/chart" uri="{C3380CC4-5D6E-409C-BE32-E72D297353CC}">
                <c16:uniqueId val="{00000013-A2FA-4046-9F96-F8B0F3C1321B}"/>
              </c:ext>
            </c:extLst>
          </c:dPt>
          <c:dPt>
            <c:idx val="10"/>
            <c:invertIfNegative val="1"/>
            <c:bubble3D val="0"/>
            <c:extLst>
              <c:ext xmlns:c16="http://schemas.microsoft.com/office/drawing/2014/chart" uri="{C3380CC4-5D6E-409C-BE32-E72D297353CC}">
                <c16:uniqueId val="{00000015-A2FA-4046-9F96-F8B0F3C1321B}"/>
              </c:ext>
            </c:extLst>
          </c:dPt>
          <c:dPt>
            <c:idx val="11"/>
            <c:invertIfNegative val="1"/>
            <c:bubble3D val="0"/>
            <c:extLst>
              <c:ext xmlns:c16="http://schemas.microsoft.com/office/drawing/2014/chart" uri="{C3380CC4-5D6E-409C-BE32-E72D297353CC}">
                <c16:uniqueId val="{00000017-A2FA-4046-9F96-F8B0F3C1321B}"/>
              </c:ext>
            </c:extLst>
          </c:dPt>
          <c:dPt>
            <c:idx val="12"/>
            <c:invertIfNegative val="1"/>
            <c:bubble3D val="0"/>
            <c:extLst>
              <c:ext xmlns:c16="http://schemas.microsoft.com/office/drawing/2014/chart" uri="{C3380CC4-5D6E-409C-BE32-E72D297353CC}">
                <c16:uniqueId val="{00000019-A2FA-4046-9F96-F8B0F3C1321B}"/>
              </c:ext>
            </c:extLst>
          </c:dPt>
          <c:dPt>
            <c:idx val="13"/>
            <c:invertIfNegative val="1"/>
            <c:bubble3D val="0"/>
            <c:extLst>
              <c:ext xmlns:c16="http://schemas.microsoft.com/office/drawing/2014/chart" uri="{C3380CC4-5D6E-409C-BE32-E72D297353CC}">
                <c16:uniqueId val="{0000001B-A2FA-4046-9F96-F8B0F3C1321B}"/>
              </c:ext>
            </c:extLst>
          </c:dPt>
          <c:dPt>
            <c:idx val="14"/>
            <c:invertIfNegative val="1"/>
            <c:bubble3D val="0"/>
            <c:extLst>
              <c:ext xmlns:c16="http://schemas.microsoft.com/office/drawing/2014/chart" uri="{C3380CC4-5D6E-409C-BE32-E72D297353CC}">
                <c16:uniqueId val="{0000001D-A2FA-4046-9F96-F8B0F3C1321B}"/>
              </c:ext>
            </c:extLst>
          </c:dPt>
          <c:dPt>
            <c:idx val="15"/>
            <c:invertIfNegative val="1"/>
            <c:bubble3D val="0"/>
            <c:extLst>
              <c:ext xmlns:c16="http://schemas.microsoft.com/office/drawing/2014/chart" uri="{C3380CC4-5D6E-409C-BE32-E72D297353CC}">
                <c16:uniqueId val="{0000001F-A2FA-4046-9F96-F8B0F3C1321B}"/>
              </c:ext>
            </c:extLst>
          </c:dPt>
          <c:dPt>
            <c:idx val="16"/>
            <c:invertIfNegative val="1"/>
            <c:bubble3D val="0"/>
            <c:extLst>
              <c:ext xmlns:c16="http://schemas.microsoft.com/office/drawing/2014/chart" uri="{C3380CC4-5D6E-409C-BE32-E72D297353CC}">
                <c16:uniqueId val="{00000021-A2FA-4046-9F96-F8B0F3C1321B}"/>
              </c:ext>
            </c:extLst>
          </c:dPt>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20.9%</a:t>
                    </a:r>
                  </a:p>
                </c:rich>
              </c:tx>
              <c:dLblPos val="ctr"/>
              <c:showLegendKey val="0"/>
              <c:showVal val="1"/>
              <c:showCatName val="0"/>
              <c:showSerName val="0"/>
              <c:showPercent val="0"/>
              <c:showBubbleSize val="0"/>
            </c:dLbl>
            <c:dLbl>
              <c:idx val="2"/>
              <c:tx>
                <c:rich>
                  <a:bodyPr/>
                  <a:lstStyle/>
                  <a:p>
                    <a:pPr>
                      <a:defRPr sz="800">
                        <a:latin typeface="Nexa Book"/>
                      </a:defRPr>
                    </a:pPr>
                    <a:r>
                      <a:t>+18.1%</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0.0</c:v>
                </c:pt>
                <c:pt idx="1">
                  <c:v>0.20890000000000003</c:v>
                </c:pt>
                <c:pt idx="2">
                  <c:v>0.18119999999999997</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3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9</c:f>
              <c:numCache>
                <c:formatCode>General</c:formatCode>
                <c:ptCount val="8"/>
                <c:pt idx="0">
                  <c:v>-0.008884471508826264</c:v>
                </c:pt>
                <c:pt idx="1">
                  <c:v>0.005616337872769689</c:v>
                </c:pt>
                <c:pt idx="2">
                  <c:v>0.0032839040749716164</c:v>
                </c:pt>
                <c:pt idx="3">
                  <c:v>-0.008766850975685525</c:v>
                </c:pt>
                <c:pt idx="4">
                  <c:v>-0.008080149247936805</c:v>
                </c:pt>
                <c:pt idx="5">
                  <c:v>0.0018891414784255843</c:v>
                </c:pt>
                <c:pt idx="6">
                  <c:v>0.006153181802024069</c:v>
                </c:pt>
                <c:pt idx="7">
                  <c:v>0.010771592228798836</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0-DCEF-4AAE-B747-39856A6177F4}"/>
              </c:ext>
            </c:extLst>
          </c:dPt>
          <c:dPt>
            <c:idx val="1"/>
            <c:invertIfNegative val="1"/>
            <c:bubble3D val="0"/>
            <c:extLst>
              <c:ext xmlns:c16="http://schemas.microsoft.com/office/drawing/2014/chart" uri="{C3380CC4-5D6E-409C-BE32-E72D297353CC}">
                <c16:uniqueId val="{00000003-ECF2-4774-A9B3-59BCC6837E98}"/>
              </c:ext>
            </c:extLst>
          </c:dPt>
          <c:dPt>
            <c:idx val="2"/>
            <c:invertIfNegative val="1"/>
            <c:bubble3D val="0"/>
            <c:extLst>
              <c:ext xmlns:c16="http://schemas.microsoft.com/office/drawing/2014/chart" uri="{C3380CC4-5D6E-409C-BE32-E72D297353CC}">
                <c16:uniqueId val="{00000005-ECF2-4774-A9B3-59BCC6837E98}"/>
              </c:ext>
            </c:extLst>
          </c:dPt>
          <c:dPt>
            <c:idx val="3"/>
            <c:invertIfNegative val="1"/>
            <c:bubble3D val="0"/>
            <c:extLst>
              <c:ext xmlns:c16="http://schemas.microsoft.com/office/drawing/2014/chart" uri="{C3380CC4-5D6E-409C-BE32-E72D297353CC}">
                <c16:uniqueId val="{00000001-DCEF-4AAE-B747-39856A6177F4}"/>
              </c:ext>
            </c:extLst>
          </c:dPt>
          <c:dPt>
            <c:idx val="4"/>
            <c:invertIfNegative val="1"/>
            <c:bubble3D val="0"/>
            <c:extLst>
              <c:ext xmlns:c16="http://schemas.microsoft.com/office/drawing/2014/chart" uri="{C3380CC4-5D6E-409C-BE32-E72D297353CC}">
                <c16:uniqueId val="{00000009-ECF2-4774-A9B3-59BCC6837E98}"/>
              </c:ext>
            </c:extLst>
          </c:dPt>
          <c:dPt>
            <c:idx val="5"/>
            <c:invertIfNegative val="1"/>
            <c:bubble3D val="0"/>
            <c:extLst>
              <c:ext xmlns:c16="http://schemas.microsoft.com/office/drawing/2014/chart" uri="{C3380CC4-5D6E-409C-BE32-E72D297353CC}">
                <c16:uniqueId val="{0000000B-ECF2-4774-A9B3-59BCC6837E98}"/>
              </c:ext>
            </c:extLst>
          </c:dPt>
          <c:dPt>
            <c:idx val="6"/>
            <c:invertIfNegative val="1"/>
            <c:bubble3D val="0"/>
            <c:extLst>
              <c:ext xmlns:c16="http://schemas.microsoft.com/office/drawing/2014/chart" uri="{C3380CC4-5D6E-409C-BE32-E72D297353CC}">
                <c16:uniqueId val="{0000000D-ECF2-4774-A9B3-59BCC6837E98}"/>
              </c:ext>
            </c:extLst>
          </c:dPt>
          <c:dPt>
            <c:idx val="7"/>
            <c:invertIfNegative val="1"/>
            <c:bubble3D val="0"/>
            <c:extLst>
              <c:ext xmlns:c16="http://schemas.microsoft.com/office/drawing/2014/chart" uri="{C3380CC4-5D6E-409C-BE32-E72D297353CC}">
                <c16:uniqueId val="{00000002-DCEF-4AAE-B747-39856A6177F4}"/>
              </c:ext>
            </c:extLst>
          </c:dPt>
          <c:dPt>
            <c:idx val="8"/>
            <c:invertIfNegative val="1"/>
            <c:bubble3D val="0"/>
            <c:extLst>
              <c:ext xmlns:c16="http://schemas.microsoft.com/office/drawing/2014/chart" uri="{C3380CC4-5D6E-409C-BE32-E72D297353CC}">
                <c16:uniqueId val="{00000011-ECF2-4774-A9B3-59BCC6837E98}"/>
              </c:ext>
            </c:extLst>
          </c:dPt>
          <c:dPt>
            <c:idx val="9"/>
            <c:invertIfNegative val="1"/>
            <c:bubble3D val="0"/>
            <c:extLst>
              <c:ext xmlns:c16="http://schemas.microsoft.com/office/drawing/2014/chart" uri="{C3380CC4-5D6E-409C-BE32-E72D297353CC}">
                <c16:uniqueId val="{00000013-ECF2-4774-A9B3-59BCC6837E98}"/>
              </c:ext>
            </c:extLst>
          </c:dPt>
          <c:dPt>
            <c:idx val="10"/>
            <c:invertIfNegative val="1"/>
            <c:bubble3D val="0"/>
            <c:extLst>
              <c:ext xmlns:c16="http://schemas.microsoft.com/office/drawing/2014/chart" uri="{C3380CC4-5D6E-409C-BE32-E72D297353CC}">
                <c16:uniqueId val="{00000015-ECF2-4774-A9B3-59BCC6837E98}"/>
              </c:ext>
            </c:extLst>
          </c:dPt>
          <c:dPt>
            <c:idx val="11"/>
            <c:invertIfNegative val="1"/>
            <c:bubble3D val="0"/>
            <c:extLst>
              <c:ext xmlns:c16="http://schemas.microsoft.com/office/drawing/2014/chart" uri="{C3380CC4-5D6E-409C-BE32-E72D297353CC}">
                <c16:uniqueId val="{00000017-ECF2-4774-A9B3-59BCC6837E98}"/>
              </c:ext>
            </c:extLst>
          </c:dPt>
          <c:dPt>
            <c:idx val="12"/>
            <c:invertIfNegative val="1"/>
            <c:bubble3D val="0"/>
            <c:extLst>
              <c:ext xmlns:c16="http://schemas.microsoft.com/office/drawing/2014/chart" uri="{C3380CC4-5D6E-409C-BE32-E72D297353CC}">
                <c16:uniqueId val="{00000019-ECF2-4774-A9B3-59BCC6837E98}"/>
              </c:ext>
            </c:extLst>
          </c:dPt>
          <c:dPt>
            <c:idx val="13"/>
            <c:invertIfNegative val="1"/>
            <c:bubble3D val="0"/>
            <c:extLst>
              <c:ext xmlns:c16="http://schemas.microsoft.com/office/drawing/2014/chart" uri="{C3380CC4-5D6E-409C-BE32-E72D297353CC}">
                <c16:uniqueId val="{0000001B-ECF2-4774-A9B3-59BCC6837E98}"/>
              </c:ext>
            </c:extLst>
          </c:dPt>
          <c:dPt>
            <c:idx val="14"/>
            <c:invertIfNegative val="1"/>
            <c:bubble3D val="0"/>
            <c:extLst>
              <c:ext xmlns:c16="http://schemas.microsoft.com/office/drawing/2014/chart" uri="{C3380CC4-5D6E-409C-BE32-E72D297353CC}">
                <c16:uniqueId val="{0000001D-ECF2-4774-A9B3-59BCC6837E98}"/>
              </c:ext>
            </c:extLst>
          </c:dPt>
          <c:dPt>
            <c:idx val="15"/>
            <c:invertIfNegative val="1"/>
            <c:bubble3D val="0"/>
            <c:extLst>
              <c:ext xmlns:c16="http://schemas.microsoft.com/office/drawing/2014/chart" uri="{C3380CC4-5D6E-409C-BE32-E72D297353CC}">
                <c16:uniqueId val="{0000001F-ECF2-4774-A9B3-59BCC6837E98}"/>
              </c:ext>
            </c:extLst>
          </c:dPt>
          <c:dPt>
            <c:idx val="16"/>
            <c:invertIfNegative val="1"/>
            <c:bubble3D val="0"/>
            <c:extLst>
              <c:ext xmlns:c16="http://schemas.microsoft.com/office/drawing/2014/chart" uri="{C3380CC4-5D6E-409C-BE32-E72D297353CC}">
                <c16:uniqueId val="{00000021-ECF2-4774-A9B3-59BCC6837E98}"/>
              </c:ext>
            </c:extLst>
          </c:dPt>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17.3%</a:t>
                    </a:r>
                  </a:p>
                </c:rich>
              </c:tx>
              <c:dLblPos val="ctr"/>
              <c:showLegendKey val="0"/>
              <c:showVal val="1"/>
              <c:showCatName val="0"/>
              <c:showSerName val="0"/>
              <c:showPercent val="0"/>
              <c:showBubbleSize val="0"/>
            </c:dLbl>
            <c:dLbl>
              <c:idx val="2"/>
              <c:tx>
                <c:rich>
                  <a:bodyPr/>
                  <a:lstStyle/>
                  <a:p>
                    <a:pPr>
                      <a:defRPr sz="800">
                        <a:latin typeface="Nexa Book"/>
                      </a:defRPr>
                    </a:pPr>
                    <a:r>
                      <a:t>+15.9%</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0.0</c:v>
                </c:pt>
                <c:pt idx="1">
                  <c:v>0.1735</c:v>
                </c:pt>
                <c:pt idx="2">
                  <c:v>0.15949999999999998</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50.7 %</a:t>
                    </a:r>
                  </a:p>
                </c:rich>
              </c:tx>
              <c:dLblPos val="ctr"/>
              <c:showLegendKey val="0"/>
              <c:showVal val="1"/>
              <c:showCatName val="0"/>
              <c:showSerName val="0"/>
              <c:showPercent val="0"/>
              <c:showBubbleSize val="0"/>
            </c:dLbl>
            <c:dLbl>
              <c:idx val="2"/>
              <c:tx>
                <c:rich>
                  <a:bodyPr/>
                  <a:lstStyle/>
                  <a:p>
                    <a:pPr>
                      <a:defRPr sz="800">
                        <a:latin typeface="Nexa Book"/>
                      </a:defRPr>
                    </a:pPr>
                    <a:r>
                      <a:t>49.3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1.0</c:v>
                </c:pt>
                <c:pt idx="1">
                  <c:v>0.507</c:v>
                </c:pt>
                <c:pt idx="2">
                  <c:v>0.49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50.7 %</a:t>
                    </a:r>
                  </a:p>
                </c:rich>
              </c:tx>
              <c:dLblPos val="ctr"/>
              <c:showLegendKey val="0"/>
              <c:showVal val="1"/>
              <c:showCatName val="0"/>
              <c:showSerName val="0"/>
              <c:showPercent val="0"/>
              <c:showBubbleSize val="0"/>
            </c:dLbl>
            <c:dLbl>
              <c:idx val="2"/>
              <c:tx>
                <c:rich>
                  <a:bodyPr/>
                  <a:lstStyle/>
                  <a:p>
                    <a:pPr>
                      <a:defRPr sz="800">
                        <a:latin typeface="Nexa Book"/>
                      </a:defRPr>
                    </a:pPr>
                    <a:r>
                      <a:t>49.3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1.0</c:v>
                </c:pt>
                <c:pt idx="1">
                  <c:v>0.5069</c:v>
                </c:pt>
                <c:pt idx="2">
                  <c:v>0.4931</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20</a:t>
                    </a:r>
                  </a:p>
                </c:rich>
              </c:tx>
              <c:dLblPos val="ctr"/>
              <c:showLegendKey val="0"/>
              <c:showVal val="1"/>
              <c:showCatName val="0"/>
              <c:showSerName val="0"/>
              <c:showPercent val="0"/>
              <c:showBubbleSize val="0"/>
            </c:dLbl>
            <c:dLbl>
              <c:idx val="1"/>
              <c:tx>
                <c:rich>
                  <a:bodyPr/>
                  <a:lstStyle/>
                  <a:p>
                    <a:pPr>
                      <a:defRPr sz="800">
                        <a:latin typeface="Nexa Book"/>
                      </a:defRPr>
                    </a:pPr>
                    <a:r>
                      <a:t>10</a:t>
                    </a:r>
                  </a:p>
                </c:rich>
              </c:tx>
              <c:dLblPos val="ctr"/>
              <c:showLegendKey val="0"/>
              <c:showVal val="1"/>
              <c:showCatName val="0"/>
              <c:showSerName val="0"/>
              <c:showPercent val="0"/>
              <c:showBubbleSize val="0"/>
            </c:dLbl>
            <c:dLbl>
              <c:idx val="2"/>
              <c:tx>
                <c:rich>
                  <a:bodyPr/>
                  <a:lstStyle/>
                  <a:p>
                    <a:pPr>
                      <a:defRPr sz="800">
                        <a:latin typeface="Nexa Book"/>
                      </a:defRPr>
                    </a:pPr>
                    <a:r>
                      <a:t>10</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20321674.0</c:v>
                </c:pt>
                <c:pt idx="1">
                  <c:v>10303675.0</c:v>
                </c:pt>
                <c:pt idx="2">
                  <c:v>10017999.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14</a:t>
                    </a:r>
                  </a:p>
                </c:rich>
              </c:tx>
              <c:dLblPos val="ctr"/>
              <c:showLegendKey val="0"/>
              <c:showVal val="1"/>
              <c:showCatName val="0"/>
              <c:showSerName val="0"/>
              <c:showPercent val="0"/>
              <c:showBubbleSize val="0"/>
            </c:dLbl>
            <c:dLbl>
              <c:idx val="1"/>
              <c:tx>
                <c:rich>
                  <a:bodyPr/>
                  <a:lstStyle/>
                  <a:p>
                    <a:pPr>
                      <a:defRPr sz="800">
                        <a:latin typeface="Nexa Book"/>
                      </a:defRPr>
                    </a:pPr>
                    <a:r>
                      <a:t>7</a:t>
                    </a:r>
                  </a:p>
                </c:rich>
              </c:tx>
              <c:dLblPos val="ctr"/>
              <c:showLegendKey val="0"/>
              <c:showVal val="1"/>
              <c:showCatName val="0"/>
              <c:showSerName val="0"/>
              <c:showPercent val="0"/>
              <c:showBubbleSize val="0"/>
            </c:dLbl>
            <c:dLbl>
              <c:idx val="2"/>
              <c:tx>
                <c:rich>
                  <a:bodyPr/>
                  <a:lstStyle/>
                  <a:p>
                    <a:pPr>
                      <a:defRPr sz="800">
                        <a:latin typeface="Nexa Book"/>
                      </a:defRPr>
                    </a:pPr>
                    <a:r>
                      <a:t>7</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14094050.0</c:v>
                </c:pt>
                <c:pt idx="1">
                  <c:v>7143856.0</c:v>
                </c:pt>
                <c:pt idx="2">
                  <c:v>6950194.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1-2960-4508-BA80-9CD1D30EF006}"/>
              </c:ext>
            </c:extLst>
          </c:dPt>
          <c:dPt>
            <c:idx val="1"/>
            <c:invertIfNegative val="1"/>
            <c:bubble3D val="0"/>
            <c:extLst>
              <c:ext xmlns:c16="http://schemas.microsoft.com/office/drawing/2014/chart" uri="{C3380CC4-5D6E-409C-BE32-E72D297353CC}">
                <c16:uniqueId val="{00000003-A2FA-4046-9F96-F8B0F3C1321B}"/>
              </c:ext>
            </c:extLst>
          </c:dPt>
          <c:dPt>
            <c:idx val="2"/>
            <c:invertIfNegative val="1"/>
            <c:bubble3D val="0"/>
            <c:extLst>
              <c:ext xmlns:c16="http://schemas.microsoft.com/office/drawing/2014/chart" uri="{C3380CC4-5D6E-409C-BE32-E72D297353CC}">
                <c16:uniqueId val="{00000005-A2FA-4046-9F96-F8B0F3C1321B}"/>
              </c:ext>
            </c:extLst>
          </c:dPt>
          <c:dPt>
            <c:idx val="3"/>
            <c:invertIfNegative val="1"/>
            <c:bubble3D val="0"/>
            <c:extLst>
              <c:ext xmlns:c16="http://schemas.microsoft.com/office/drawing/2014/chart" uri="{C3380CC4-5D6E-409C-BE32-E72D297353CC}">
                <c16:uniqueId val="{00000002-2960-4508-BA80-9CD1D30EF006}"/>
              </c:ext>
            </c:extLst>
          </c:dPt>
          <c:dPt>
            <c:idx val="4"/>
            <c:invertIfNegative val="1"/>
            <c:bubble3D val="0"/>
            <c:extLst>
              <c:ext xmlns:c16="http://schemas.microsoft.com/office/drawing/2014/chart" uri="{C3380CC4-5D6E-409C-BE32-E72D297353CC}">
                <c16:uniqueId val="{00000009-A2FA-4046-9F96-F8B0F3C1321B}"/>
              </c:ext>
            </c:extLst>
          </c:dPt>
          <c:dPt>
            <c:idx val="5"/>
            <c:invertIfNegative val="1"/>
            <c:bubble3D val="0"/>
            <c:extLst>
              <c:ext xmlns:c16="http://schemas.microsoft.com/office/drawing/2014/chart" uri="{C3380CC4-5D6E-409C-BE32-E72D297353CC}">
                <c16:uniqueId val="{0000000B-A2FA-4046-9F96-F8B0F3C1321B}"/>
              </c:ext>
            </c:extLst>
          </c:dPt>
          <c:dPt>
            <c:idx val="6"/>
            <c:invertIfNegative val="1"/>
            <c:bubble3D val="0"/>
            <c:extLst>
              <c:ext xmlns:c16="http://schemas.microsoft.com/office/drawing/2014/chart" uri="{C3380CC4-5D6E-409C-BE32-E72D297353CC}">
                <c16:uniqueId val="{0000000D-A2FA-4046-9F96-F8B0F3C1321B}"/>
              </c:ext>
            </c:extLst>
          </c:dPt>
          <c:dPt>
            <c:idx val="7"/>
            <c:invertIfNegative val="1"/>
            <c:bubble3D val="0"/>
            <c:extLst>
              <c:ext xmlns:c16="http://schemas.microsoft.com/office/drawing/2014/chart" uri="{C3380CC4-5D6E-409C-BE32-E72D297353CC}">
                <c16:uniqueId val="{00000000-2960-4508-BA80-9CD1D30EF006}"/>
              </c:ext>
            </c:extLst>
          </c:dPt>
          <c:dPt>
            <c:idx val="8"/>
            <c:invertIfNegative val="1"/>
            <c:bubble3D val="0"/>
            <c:extLst>
              <c:ext xmlns:c16="http://schemas.microsoft.com/office/drawing/2014/chart" uri="{C3380CC4-5D6E-409C-BE32-E72D297353CC}">
                <c16:uniqueId val="{00000011-A2FA-4046-9F96-F8B0F3C1321B}"/>
              </c:ext>
            </c:extLst>
          </c:dPt>
          <c:dPt>
            <c:idx val="9"/>
            <c:invertIfNegative val="1"/>
            <c:bubble3D val="0"/>
            <c:extLst>
              <c:ext xmlns:c16="http://schemas.microsoft.com/office/drawing/2014/chart" uri="{C3380CC4-5D6E-409C-BE32-E72D297353CC}">
                <c16:uniqueId val="{00000013-A2FA-4046-9F96-F8B0F3C1321B}"/>
              </c:ext>
            </c:extLst>
          </c:dPt>
          <c:dPt>
            <c:idx val="10"/>
            <c:invertIfNegative val="1"/>
            <c:bubble3D val="0"/>
            <c:extLst>
              <c:ext xmlns:c16="http://schemas.microsoft.com/office/drawing/2014/chart" uri="{C3380CC4-5D6E-409C-BE32-E72D297353CC}">
                <c16:uniqueId val="{00000015-A2FA-4046-9F96-F8B0F3C1321B}"/>
              </c:ext>
            </c:extLst>
          </c:dPt>
          <c:dPt>
            <c:idx val="11"/>
            <c:invertIfNegative val="1"/>
            <c:bubble3D val="0"/>
            <c:extLst>
              <c:ext xmlns:c16="http://schemas.microsoft.com/office/drawing/2014/chart" uri="{C3380CC4-5D6E-409C-BE32-E72D297353CC}">
                <c16:uniqueId val="{00000017-A2FA-4046-9F96-F8B0F3C1321B}"/>
              </c:ext>
            </c:extLst>
          </c:dPt>
          <c:dPt>
            <c:idx val="12"/>
            <c:invertIfNegative val="1"/>
            <c:bubble3D val="0"/>
            <c:extLst>
              <c:ext xmlns:c16="http://schemas.microsoft.com/office/drawing/2014/chart" uri="{C3380CC4-5D6E-409C-BE32-E72D297353CC}">
                <c16:uniqueId val="{00000019-A2FA-4046-9F96-F8B0F3C1321B}"/>
              </c:ext>
            </c:extLst>
          </c:dPt>
          <c:dPt>
            <c:idx val="13"/>
            <c:invertIfNegative val="1"/>
            <c:bubble3D val="0"/>
            <c:extLst>
              <c:ext xmlns:c16="http://schemas.microsoft.com/office/drawing/2014/chart" uri="{C3380CC4-5D6E-409C-BE32-E72D297353CC}">
                <c16:uniqueId val="{0000001B-A2FA-4046-9F96-F8B0F3C1321B}"/>
              </c:ext>
            </c:extLst>
          </c:dPt>
          <c:dPt>
            <c:idx val="14"/>
            <c:invertIfNegative val="1"/>
            <c:bubble3D val="0"/>
            <c:extLst>
              <c:ext xmlns:c16="http://schemas.microsoft.com/office/drawing/2014/chart" uri="{C3380CC4-5D6E-409C-BE32-E72D297353CC}">
                <c16:uniqueId val="{0000001D-A2FA-4046-9F96-F8B0F3C1321B}"/>
              </c:ext>
            </c:extLst>
          </c:dPt>
          <c:dPt>
            <c:idx val="15"/>
            <c:invertIfNegative val="1"/>
            <c:bubble3D val="0"/>
            <c:extLst>
              <c:ext xmlns:c16="http://schemas.microsoft.com/office/drawing/2014/chart" uri="{C3380CC4-5D6E-409C-BE32-E72D297353CC}">
                <c16:uniqueId val="{0000001F-A2FA-4046-9F96-F8B0F3C1321B}"/>
              </c:ext>
            </c:extLst>
          </c:dPt>
          <c:dPt>
            <c:idx val="16"/>
            <c:invertIfNegative val="1"/>
            <c:bubble3D val="0"/>
            <c:extLst>
              <c:ext xmlns:c16="http://schemas.microsoft.com/office/drawing/2014/chart" uri="{C3380CC4-5D6E-409C-BE32-E72D297353CC}">
                <c16:uniqueId val="{00000021-A2FA-4046-9F96-F8B0F3C1321B}"/>
              </c:ext>
            </c:extLst>
          </c:dPt>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20.9%</a:t>
                    </a:r>
                  </a:p>
                </c:rich>
              </c:tx>
              <c:dLblPos val="ctr"/>
              <c:showLegendKey val="0"/>
              <c:showVal val="1"/>
              <c:showCatName val="0"/>
              <c:showSerName val="0"/>
              <c:showPercent val="0"/>
              <c:showBubbleSize val="0"/>
            </c:dLbl>
            <c:dLbl>
              <c:idx val="2"/>
              <c:tx>
                <c:rich>
                  <a:bodyPr/>
                  <a:lstStyle/>
                  <a:p>
                    <a:pPr>
                      <a:defRPr sz="800">
                        <a:latin typeface="Nexa Book"/>
                      </a:defRPr>
                    </a:pPr>
                    <a:r>
                      <a:t>+18.1%</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0.0</c:v>
                </c:pt>
                <c:pt idx="1">
                  <c:v>0.20890000000000003</c:v>
                </c:pt>
                <c:pt idx="2">
                  <c:v>0.18119999999999997</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0-DCEF-4AAE-B747-39856A6177F4}"/>
              </c:ext>
            </c:extLst>
          </c:dPt>
          <c:dPt>
            <c:idx val="1"/>
            <c:invertIfNegative val="1"/>
            <c:bubble3D val="0"/>
            <c:extLst>
              <c:ext xmlns:c16="http://schemas.microsoft.com/office/drawing/2014/chart" uri="{C3380CC4-5D6E-409C-BE32-E72D297353CC}">
                <c16:uniqueId val="{00000003-ECF2-4774-A9B3-59BCC6837E98}"/>
              </c:ext>
            </c:extLst>
          </c:dPt>
          <c:dPt>
            <c:idx val="2"/>
            <c:invertIfNegative val="1"/>
            <c:bubble3D val="0"/>
            <c:extLst>
              <c:ext xmlns:c16="http://schemas.microsoft.com/office/drawing/2014/chart" uri="{C3380CC4-5D6E-409C-BE32-E72D297353CC}">
                <c16:uniqueId val="{00000005-ECF2-4774-A9B3-59BCC6837E98}"/>
              </c:ext>
            </c:extLst>
          </c:dPt>
          <c:dPt>
            <c:idx val="3"/>
            <c:invertIfNegative val="1"/>
            <c:bubble3D val="0"/>
            <c:extLst>
              <c:ext xmlns:c16="http://schemas.microsoft.com/office/drawing/2014/chart" uri="{C3380CC4-5D6E-409C-BE32-E72D297353CC}">
                <c16:uniqueId val="{00000001-DCEF-4AAE-B747-39856A6177F4}"/>
              </c:ext>
            </c:extLst>
          </c:dPt>
          <c:dPt>
            <c:idx val="4"/>
            <c:invertIfNegative val="1"/>
            <c:bubble3D val="0"/>
            <c:extLst>
              <c:ext xmlns:c16="http://schemas.microsoft.com/office/drawing/2014/chart" uri="{C3380CC4-5D6E-409C-BE32-E72D297353CC}">
                <c16:uniqueId val="{00000009-ECF2-4774-A9B3-59BCC6837E98}"/>
              </c:ext>
            </c:extLst>
          </c:dPt>
          <c:dPt>
            <c:idx val="5"/>
            <c:invertIfNegative val="1"/>
            <c:bubble3D val="0"/>
            <c:extLst>
              <c:ext xmlns:c16="http://schemas.microsoft.com/office/drawing/2014/chart" uri="{C3380CC4-5D6E-409C-BE32-E72D297353CC}">
                <c16:uniqueId val="{0000000B-ECF2-4774-A9B3-59BCC6837E98}"/>
              </c:ext>
            </c:extLst>
          </c:dPt>
          <c:dPt>
            <c:idx val="6"/>
            <c:invertIfNegative val="1"/>
            <c:bubble3D val="0"/>
            <c:extLst>
              <c:ext xmlns:c16="http://schemas.microsoft.com/office/drawing/2014/chart" uri="{C3380CC4-5D6E-409C-BE32-E72D297353CC}">
                <c16:uniqueId val="{0000000D-ECF2-4774-A9B3-59BCC6837E98}"/>
              </c:ext>
            </c:extLst>
          </c:dPt>
          <c:dPt>
            <c:idx val="7"/>
            <c:invertIfNegative val="1"/>
            <c:bubble3D val="0"/>
            <c:extLst>
              <c:ext xmlns:c16="http://schemas.microsoft.com/office/drawing/2014/chart" uri="{C3380CC4-5D6E-409C-BE32-E72D297353CC}">
                <c16:uniqueId val="{00000002-DCEF-4AAE-B747-39856A6177F4}"/>
              </c:ext>
            </c:extLst>
          </c:dPt>
          <c:dPt>
            <c:idx val="8"/>
            <c:invertIfNegative val="1"/>
            <c:bubble3D val="0"/>
            <c:extLst>
              <c:ext xmlns:c16="http://schemas.microsoft.com/office/drawing/2014/chart" uri="{C3380CC4-5D6E-409C-BE32-E72D297353CC}">
                <c16:uniqueId val="{00000011-ECF2-4774-A9B3-59BCC6837E98}"/>
              </c:ext>
            </c:extLst>
          </c:dPt>
          <c:dPt>
            <c:idx val="9"/>
            <c:invertIfNegative val="1"/>
            <c:bubble3D val="0"/>
            <c:extLst>
              <c:ext xmlns:c16="http://schemas.microsoft.com/office/drawing/2014/chart" uri="{C3380CC4-5D6E-409C-BE32-E72D297353CC}">
                <c16:uniqueId val="{00000013-ECF2-4774-A9B3-59BCC6837E98}"/>
              </c:ext>
            </c:extLst>
          </c:dPt>
          <c:dPt>
            <c:idx val="10"/>
            <c:invertIfNegative val="1"/>
            <c:bubble3D val="0"/>
            <c:extLst>
              <c:ext xmlns:c16="http://schemas.microsoft.com/office/drawing/2014/chart" uri="{C3380CC4-5D6E-409C-BE32-E72D297353CC}">
                <c16:uniqueId val="{00000015-ECF2-4774-A9B3-59BCC6837E98}"/>
              </c:ext>
            </c:extLst>
          </c:dPt>
          <c:dPt>
            <c:idx val="11"/>
            <c:invertIfNegative val="1"/>
            <c:bubble3D val="0"/>
            <c:extLst>
              <c:ext xmlns:c16="http://schemas.microsoft.com/office/drawing/2014/chart" uri="{C3380CC4-5D6E-409C-BE32-E72D297353CC}">
                <c16:uniqueId val="{00000017-ECF2-4774-A9B3-59BCC6837E98}"/>
              </c:ext>
            </c:extLst>
          </c:dPt>
          <c:dPt>
            <c:idx val="12"/>
            <c:invertIfNegative val="1"/>
            <c:bubble3D val="0"/>
            <c:extLst>
              <c:ext xmlns:c16="http://schemas.microsoft.com/office/drawing/2014/chart" uri="{C3380CC4-5D6E-409C-BE32-E72D297353CC}">
                <c16:uniqueId val="{00000019-ECF2-4774-A9B3-59BCC6837E98}"/>
              </c:ext>
            </c:extLst>
          </c:dPt>
          <c:dPt>
            <c:idx val="13"/>
            <c:invertIfNegative val="1"/>
            <c:bubble3D val="0"/>
            <c:extLst>
              <c:ext xmlns:c16="http://schemas.microsoft.com/office/drawing/2014/chart" uri="{C3380CC4-5D6E-409C-BE32-E72D297353CC}">
                <c16:uniqueId val="{0000001B-ECF2-4774-A9B3-59BCC6837E98}"/>
              </c:ext>
            </c:extLst>
          </c:dPt>
          <c:dPt>
            <c:idx val="14"/>
            <c:invertIfNegative val="1"/>
            <c:bubble3D val="0"/>
            <c:extLst>
              <c:ext xmlns:c16="http://schemas.microsoft.com/office/drawing/2014/chart" uri="{C3380CC4-5D6E-409C-BE32-E72D297353CC}">
                <c16:uniqueId val="{0000001D-ECF2-4774-A9B3-59BCC6837E98}"/>
              </c:ext>
            </c:extLst>
          </c:dPt>
          <c:dPt>
            <c:idx val="15"/>
            <c:invertIfNegative val="1"/>
            <c:bubble3D val="0"/>
            <c:extLst>
              <c:ext xmlns:c16="http://schemas.microsoft.com/office/drawing/2014/chart" uri="{C3380CC4-5D6E-409C-BE32-E72D297353CC}">
                <c16:uniqueId val="{0000001F-ECF2-4774-A9B3-59BCC6837E98}"/>
              </c:ext>
            </c:extLst>
          </c:dPt>
          <c:dPt>
            <c:idx val="16"/>
            <c:invertIfNegative val="1"/>
            <c:bubble3D val="0"/>
            <c:extLst>
              <c:ext xmlns:c16="http://schemas.microsoft.com/office/drawing/2014/chart" uri="{C3380CC4-5D6E-409C-BE32-E72D297353CC}">
                <c16:uniqueId val="{00000021-ECF2-4774-A9B3-59BCC6837E98}"/>
              </c:ext>
            </c:extLst>
          </c:dPt>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22.4%</a:t>
                    </a:r>
                  </a:p>
                </c:rich>
              </c:tx>
              <c:dLblPos val="ctr"/>
              <c:showLegendKey val="0"/>
              <c:showVal val="1"/>
              <c:showCatName val="0"/>
              <c:showSerName val="0"/>
              <c:showPercent val="0"/>
              <c:showBubbleSize val="0"/>
            </c:dLbl>
            <c:dLbl>
              <c:idx val="2"/>
              <c:tx>
                <c:rich>
                  <a:bodyPr/>
                  <a:lstStyle/>
                  <a:p>
                    <a:pPr>
                      <a:defRPr sz="800">
                        <a:latin typeface="Nexa Book"/>
                      </a:defRPr>
                    </a:pPr>
                    <a:r>
                      <a:t>+16.3%</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0.0</c:v>
                </c:pt>
                <c:pt idx="1">
                  <c:v>0.22410000000000002</c:v>
                </c:pt>
                <c:pt idx="2">
                  <c:v>0.16259999999999997</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55.3 %</a:t>
                    </a:r>
                  </a:p>
                </c:rich>
              </c:tx>
              <c:dLblPos val="ctr"/>
              <c:showLegendKey val="0"/>
              <c:showVal val="1"/>
              <c:showCatName val="0"/>
              <c:showSerName val="0"/>
              <c:showPercent val="0"/>
              <c:showBubbleSize val="0"/>
            </c:dLbl>
            <c:dLbl>
              <c:idx val="2"/>
              <c:tx>
                <c:rich>
                  <a:bodyPr/>
                  <a:lstStyle/>
                  <a:p>
                    <a:pPr>
                      <a:defRPr sz="800">
                        <a:latin typeface="Nexa Book"/>
                      </a:defRPr>
                    </a:pPr>
                    <a:r>
                      <a:t>44.7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1.0</c:v>
                </c:pt>
                <c:pt idx="1">
                  <c:v>0.5533</c:v>
                </c:pt>
                <c:pt idx="2">
                  <c:v>0.446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54.7 %</a:t>
                    </a:r>
                  </a:p>
                </c:rich>
              </c:tx>
              <c:dLblPos val="ctr"/>
              <c:showLegendKey val="0"/>
              <c:showVal val="1"/>
              <c:showCatName val="0"/>
              <c:showSerName val="0"/>
              <c:showPercent val="0"/>
              <c:showBubbleSize val="0"/>
            </c:dLbl>
            <c:dLbl>
              <c:idx val="2"/>
              <c:tx>
                <c:rich>
                  <a:bodyPr/>
                  <a:lstStyle/>
                  <a:p>
                    <a:pPr>
                      <a:defRPr sz="800">
                        <a:latin typeface="Nexa Book"/>
                      </a:defRPr>
                    </a:pPr>
                    <a:r>
                      <a:t>45.3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1.0</c:v>
                </c:pt>
                <c:pt idx="1">
                  <c:v>0.5471</c:v>
                </c:pt>
                <c:pt idx="2">
                  <c:v>0.4529</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44</a:t>
                    </a:r>
                  </a:p>
                </c:rich>
              </c:tx>
              <c:dLblPos val="ctr"/>
              <c:showLegendKey val="0"/>
              <c:showVal val="1"/>
              <c:showCatName val="0"/>
              <c:showSerName val="0"/>
              <c:showPercent val="0"/>
              <c:showBubbleSize val="0"/>
            </c:dLbl>
            <c:dLbl>
              <c:idx val="1"/>
              <c:tx>
                <c:rich>
                  <a:bodyPr/>
                  <a:lstStyle/>
                  <a:p>
                    <a:pPr>
                      <a:defRPr sz="800">
                        <a:latin typeface="Nexa Book"/>
                      </a:defRPr>
                    </a:pPr>
                    <a:r>
                      <a:t>24</a:t>
                    </a:r>
                  </a:p>
                </c:rich>
              </c:tx>
              <c:dLblPos val="ctr"/>
              <c:showLegendKey val="0"/>
              <c:showVal val="1"/>
              <c:showCatName val="0"/>
              <c:showSerName val="0"/>
              <c:showPercent val="0"/>
              <c:showBubbleSize val="0"/>
            </c:dLbl>
            <c:dLbl>
              <c:idx val="2"/>
              <c:tx>
                <c:rich>
                  <a:bodyPr/>
                  <a:lstStyle/>
                  <a:p>
                    <a:pPr>
                      <a:defRPr sz="800">
                        <a:latin typeface="Nexa Book"/>
                      </a:defRPr>
                    </a:pPr>
                    <a:r>
                      <a:t>20</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43709441.0</c:v>
                </c:pt>
                <c:pt idx="1">
                  <c:v>24183221.0</c:v>
                </c:pt>
                <c:pt idx="2">
                  <c:v>19526220.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9</c:f>
              <c:numCache>
                <c:formatCode>General</c:formatCode>
                <c:ptCount val="8"/>
                <c:pt idx="0">
                  <c:v>0.011709855466444263</c:v>
                </c:pt>
                <c:pt idx="1">
                  <c:v>-0.004263364892795246</c:v>
                </c:pt>
                <c:pt idx="2">
                  <c:v>0.0010181720038385245</c:v>
                </c:pt>
                <c:pt idx="3">
                  <c:v>-0.006717438314502125</c:v>
                </c:pt>
                <c:pt idx="4">
                  <c:v>-0.002817405074117235</c:v>
                </c:pt>
                <c:pt idx="5">
                  <c:v>0.0015508226350152178</c:v>
                </c:pt>
                <c:pt idx="6">
                  <c:v>0.0021864506111732365</c:v>
                </c:pt>
                <c:pt idx="7">
                  <c:v>-0.002667092435056609</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08884471508826264</c:v>
                </c:pt>
                <c:pt idx="1">
                  <c:v>0.014423104754893945</c:v>
                </c:pt>
                <c:pt idx="2">
                  <c:v>-0.011278918964740675</c:v>
                </c:pt>
                <c:pt idx="3">
                  <c:v>0.007493497379121056</c:v>
                </c:pt>
                <c:pt idx="4">
                  <c:v>-0.007949471490276062</c:v>
                </c:pt>
                <c:pt idx="5">
                  <c:v>-0.000708268939644506</c:v>
                </c:pt>
                <c:pt idx="6">
                  <c:v>0.001031227835825252</c:v>
                </c:pt>
                <c:pt idx="7">
                  <c:v>-0.0005936445071072945</c:v>
                </c:pt>
                <c:pt idx="8">
                  <c:v>-0.004181812312251544</c:v>
                </c:pt>
                <c:pt idx="9">
                  <c:v>0.01263152891179475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10</a:t>
                    </a:r>
                  </a:p>
                </c:rich>
              </c:tx>
              <c:dLblPos val="ctr"/>
              <c:showLegendKey val="0"/>
              <c:showVal val="1"/>
              <c:showCatName val="0"/>
              <c:showSerName val="0"/>
              <c:showPercent val="0"/>
              <c:showBubbleSize val="0"/>
            </c:dLbl>
            <c:dLbl>
              <c:idx val="1"/>
              <c:tx>
                <c:rich>
                  <a:bodyPr/>
                  <a:lstStyle/>
                  <a:p>
                    <a:pPr>
                      <a:defRPr sz="800">
                        <a:latin typeface="Nexa Book"/>
                      </a:defRPr>
                    </a:pPr>
                    <a:r>
                      <a:t>6</a:t>
                    </a:r>
                  </a:p>
                </c:rich>
              </c:tx>
              <c:dLblPos val="ctr"/>
              <c:showLegendKey val="0"/>
              <c:showVal val="1"/>
              <c:showCatName val="0"/>
              <c:showSerName val="0"/>
              <c:showPercent val="0"/>
              <c:showBubbleSize val="0"/>
            </c:dLbl>
            <c:dLbl>
              <c:idx val="2"/>
              <c:tx>
                <c:rich>
                  <a:bodyPr/>
                  <a:lstStyle/>
                  <a:p>
                    <a:pPr>
                      <a:defRPr sz="800">
                        <a:latin typeface="Nexa Book"/>
                      </a:defRPr>
                    </a:pPr>
                    <a:r>
                      <a:t>5</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10097732.0</c:v>
                </c:pt>
                <c:pt idx="1">
                  <c:v>5524817.0</c:v>
                </c:pt>
                <c:pt idx="2">
                  <c:v>4572915.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1-2960-4508-BA80-9CD1D30EF006}"/>
              </c:ext>
            </c:extLst>
          </c:dPt>
          <c:dPt>
            <c:idx val="1"/>
            <c:invertIfNegative val="1"/>
            <c:bubble3D val="0"/>
            <c:extLst>
              <c:ext xmlns:c16="http://schemas.microsoft.com/office/drawing/2014/chart" uri="{C3380CC4-5D6E-409C-BE32-E72D297353CC}">
                <c16:uniqueId val="{00000003-A2FA-4046-9F96-F8B0F3C1321B}"/>
              </c:ext>
            </c:extLst>
          </c:dPt>
          <c:dPt>
            <c:idx val="2"/>
            <c:invertIfNegative val="1"/>
            <c:bubble3D val="0"/>
            <c:extLst>
              <c:ext xmlns:c16="http://schemas.microsoft.com/office/drawing/2014/chart" uri="{C3380CC4-5D6E-409C-BE32-E72D297353CC}">
                <c16:uniqueId val="{00000005-A2FA-4046-9F96-F8B0F3C1321B}"/>
              </c:ext>
            </c:extLst>
          </c:dPt>
          <c:dPt>
            <c:idx val="3"/>
            <c:invertIfNegative val="1"/>
            <c:bubble3D val="0"/>
            <c:extLst>
              <c:ext xmlns:c16="http://schemas.microsoft.com/office/drawing/2014/chart" uri="{C3380CC4-5D6E-409C-BE32-E72D297353CC}">
                <c16:uniqueId val="{00000002-2960-4508-BA80-9CD1D30EF006}"/>
              </c:ext>
            </c:extLst>
          </c:dPt>
          <c:dPt>
            <c:idx val="4"/>
            <c:invertIfNegative val="1"/>
            <c:bubble3D val="0"/>
            <c:extLst>
              <c:ext xmlns:c16="http://schemas.microsoft.com/office/drawing/2014/chart" uri="{C3380CC4-5D6E-409C-BE32-E72D297353CC}">
                <c16:uniqueId val="{00000009-A2FA-4046-9F96-F8B0F3C1321B}"/>
              </c:ext>
            </c:extLst>
          </c:dPt>
          <c:dPt>
            <c:idx val="5"/>
            <c:invertIfNegative val="1"/>
            <c:bubble3D val="0"/>
            <c:extLst>
              <c:ext xmlns:c16="http://schemas.microsoft.com/office/drawing/2014/chart" uri="{C3380CC4-5D6E-409C-BE32-E72D297353CC}">
                <c16:uniqueId val="{0000000B-A2FA-4046-9F96-F8B0F3C1321B}"/>
              </c:ext>
            </c:extLst>
          </c:dPt>
          <c:dPt>
            <c:idx val="6"/>
            <c:invertIfNegative val="1"/>
            <c:bubble3D val="0"/>
            <c:extLst>
              <c:ext xmlns:c16="http://schemas.microsoft.com/office/drawing/2014/chart" uri="{C3380CC4-5D6E-409C-BE32-E72D297353CC}">
                <c16:uniqueId val="{0000000D-A2FA-4046-9F96-F8B0F3C1321B}"/>
              </c:ext>
            </c:extLst>
          </c:dPt>
          <c:dPt>
            <c:idx val="7"/>
            <c:invertIfNegative val="1"/>
            <c:bubble3D val="0"/>
            <c:extLst>
              <c:ext xmlns:c16="http://schemas.microsoft.com/office/drawing/2014/chart" uri="{C3380CC4-5D6E-409C-BE32-E72D297353CC}">
                <c16:uniqueId val="{00000000-2960-4508-BA80-9CD1D30EF006}"/>
              </c:ext>
            </c:extLst>
          </c:dPt>
          <c:dPt>
            <c:idx val="8"/>
            <c:invertIfNegative val="1"/>
            <c:bubble3D val="0"/>
            <c:extLst>
              <c:ext xmlns:c16="http://schemas.microsoft.com/office/drawing/2014/chart" uri="{C3380CC4-5D6E-409C-BE32-E72D297353CC}">
                <c16:uniqueId val="{00000011-A2FA-4046-9F96-F8B0F3C1321B}"/>
              </c:ext>
            </c:extLst>
          </c:dPt>
          <c:dPt>
            <c:idx val="9"/>
            <c:invertIfNegative val="1"/>
            <c:bubble3D val="0"/>
            <c:extLst>
              <c:ext xmlns:c16="http://schemas.microsoft.com/office/drawing/2014/chart" uri="{C3380CC4-5D6E-409C-BE32-E72D297353CC}">
                <c16:uniqueId val="{00000013-A2FA-4046-9F96-F8B0F3C1321B}"/>
              </c:ext>
            </c:extLst>
          </c:dPt>
          <c:dPt>
            <c:idx val="10"/>
            <c:invertIfNegative val="1"/>
            <c:bubble3D val="0"/>
            <c:extLst>
              <c:ext xmlns:c16="http://schemas.microsoft.com/office/drawing/2014/chart" uri="{C3380CC4-5D6E-409C-BE32-E72D297353CC}">
                <c16:uniqueId val="{00000015-A2FA-4046-9F96-F8B0F3C1321B}"/>
              </c:ext>
            </c:extLst>
          </c:dPt>
          <c:dPt>
            <c:idx val="11"/>
            <c:invertIfNegative val="1"/>
            <c:bubble3D val="0"/>
            <c:extLst>
              <c:ext xmlns:c16="http://schemas.microsoft.com/office/drawing/2014/chart" uri="{C3380CC4-5D6E-409C-BE32-E72D297353CC}">
                <c16:uniqueId val="{00000017-A2FA-4046-9F96-F8B0F3C1321B}"/>
              </c:ext>
            </c:extLst>
          </c:dPt>
          <c:dPt>
            <c:idx val="12"/>
            <c:invertIfNegative val="1"/>
            <c:bubble3D val="0"/>
            <c:extLst>
              <c:ext xmlns:c16="http://schemas.microsoft.com/office/drawing/2014/chart" uri="{C3380CC4-5D6E-409C-BE32-E72D297353CC}">
                <c16:uniqueId val="{00000019-A2FA-4046-9F96-F8B0F3C1321B}"/>
              </c:ext>
            </c:extLst>
          </c:dPt>
          <c:dPt>
            <c:idx val="13"/>
            <c:invertIfNegative val="1"/>
            <c:bubble3D val="0"/>
            <c:extLst>
              <c:ext xmlns:c16="http://schemas.microsoft.com/office/drawing/2014/chart" uri="{C3380CC4-5D6E-409C-BE32-E72D297353CC}">
                <c16:uniqueId val="{0000001B-A2FA-4046-9F96-F8B0F3C1321B}"/>
              </c:ext>
            </c:extLst>
          </c:dPt>
          <c:dPt>
            <c:idx val="14"/>
            <c:invertIfNegative val="1"/>
            <c:bubble3D val="0"/>
            <c:extLst>
              <c:ext xmlns:c16="http://schemas.microsoft.com/office/drawing/2014/chart" uri="{C3380CC4-5D6E-409C-BE32-E72D297353CC}">
                <c16:uniqueId val="{0000001D-A2FA-4046-9F96-F8B0F3C1321B}"/>
              </c:ext>
            </c:extLst>
          </c:dPt>
          <c:dPt>
            <c:idx val="15"/>
            <c:invertIfNegative val="1"/>
            <c:bubble3D val="0"/>
            <c:extLst>
              <c:ext xmlns:c16="http://schemas.microsoft.com/office/drawing/2014/chart" uri="{C3380CC4-5D6E-409C-BE32-E72D297353CC}">
                <c16:uniqueId val="{0000001F-A2FA-4046-9F96-F8B0F3C1321B}"/>
              </c:ext>
            </c:extLst>
          </c:dPt>
          <c:dPt>
            <c:idx val="16"/>
            <c:invertIfNegative val="1"/>
            <c:bubble3D val="0"/>
            <c:extLst>
              <c:ext xmlns:c16="http://schemas.microsoft.com/office/drawing/2014/chart" uri="{C3380CC4-5D6E-409C-BE32-E72D297353CC}">
                <c16:uniqueId val="{00000021-A2FA-4046-9F96-F8B0F3C1321B}"/>
              </c:ext>
            </c:extLst>
          </c:dPt>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23.9%</a:t>
                    </a:r>
                  </a:p>
                </c:rich>
              </c:tx>
              <c:dLblPos val="ctr"/>
              <c:showLegendKey val="0"/>
              <c:showVal val="1"/>
              <c:showCatName val="0"/>
              <c:showSerName val="0"/>
              <c:showPercent val="0"/>
              <c:showBubbleSize val="0"/>
            </c:dLbl>
            <c:dLbl>
              <c:idx val="2"/>
              <c:tx>
                <c:rich>
                  <a:bodyPr/>
                  <a:lstStyle/>
                  <a:p>
                    <a:pPr>
                      <a:defRPr sz="800">
                        <a:latin typeface="Nexa Book"/>
                      </a:defRPr>
                    </a:pPr>
                    <a:r>
                      <a:t>+19.4%</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0.0</c:v>
                </c:pt>
                <c:pt idx="1">
                  <c:v>0.23920000000000002</c:v>
                </c:pt>
                <c:pt idx="2">
                  <c:v>0.19389999999999996</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0-DCEF-4AAE-B747-39856A6177F4}"/>
              </c:ext>
            </c:extLst>
          </c:dPt>
          <c:dPt>
            <c:idx val="1"/>
            <c:invertIfNegative val="1"/>
            <c:bubble3D val="0"/>
            <c:extLst>
              <c:ext xmlns:c16="http://schemas.microsoft.com/office/drawing/2014/chart" uri="{C3380CC4-5D6E-409C-BE32-E72D297353CC}">
                <c16:uniqueId val="{00000003-ECF2-4774-A9B3-59BCC6837E98}"/>
              </c:ext>
            </c:extLst>
          </c:dPt>
          <c:dPt>
            <c:idx val="2"/>
            <c:invertIfNegative val="1"/>
            <c:bubble3D val="0"/>
            <c:extLst>
              <c:ext xmlns:c16="http://schemas.microsoft.com/office/drawing/2014/chart" uri="{C3380CC4-5D6E-409C-BE32-E72D297353CC}">
                <c16:uniqueId val="{00000005-ECF2-4774-A9B3-59BCC6837E98}"/>
              </c:ext>
            </c:extLst>
          </c:dPt>
          <c:dPt>
            <c:idx val="3"/>
            <c:invertIfNegative val="1"/>
            <c:bubble3D val="0"/>
            <c:extLst>
              <c:ext xmlns:c16="http://schemas.microsoft.com/office/drawing/2014/chart" uri="{C3380CC4-5D6E-409C-BE32-E72D297353CC}">
                <c16:uniqueId val="{00000001-DCEF-4AAE-B747-39856A6177F4}"/>
              </c:ext>
            </c:extLst>
          </c:dPt>
          <c:dPt>
            <c:idx val="4"/>
            <c:invertIfNegative val="1"/>
            <c:bubble3D val="0"/>
            <c:extLst>
              <c:ext xmlns:c16="http://schemas.microsoft.com/office/drawing/2014/chart" uri="{C3380CC4-5D6E-409C-BE32-E72D297353CC}">
                <c16:uniqueId val="{00000009-ECF2-4774-A9B3-59BCC6837E98}"/>
              </c:ext>
            </c:extLst>
          </c:dPt>
          <c:dPt>
            <c:idx val="5"/>
            <c:invertIfNegative val="1"/>
            <c:bubble3D val="0"/>
            <c:extLst>
              <c:ext xmlns:c16="http://schemas.microsoft.com/office/drawing/2014/chart" uri="{C3380CC4-5D6E-409C-BE32-E72D297353CC}">
                <c16:uniqueId val="{0000000B-ECF2-4774-A9B3-59BCC6837E98}"/>
              </c:ext>
            </c:extLst>
          </c:dPt>
          <c:dPt>
            <c:idx val="6"/>
            <c:invertIfNegative val="1"/>
            <c:bubble3D val="0"/>
            <c:extLst>
              <c:ext xmlns:c16="http://schemas.microsoft.com/office/drawing/2014/chart" uri="{C3380CC4-5D6E-409C-BE32-E72D297353CC}">
                <c16:uniqueId val="{0000000D-ECF2-4774-A9B3-59BCC6837E98}"/>
              </c:ext>
            </c:extLst>
          </c:dPt>
          <c:dPt>
            <c:idx val="7"/>
            <c:invertIfNegative val="1"/>
            <c:bubble3D val="0"/>
            <c:extLst>
              <c:ext xmlns:c16="http://schemas.microsoft.com/office/drawing/2014/chart" uri="{C3380CC4-5D6E-409C-BE32-E72D297353CC}">
                <c16:uniqueId val="{00000002-DCEF-4AAE-B747-39856A6177F4}"/>
              </c:ext>
            </c:extLst>
          </c:dPt>
          <c:dPt>
            <c:idx val="8"/>
            <c:invertIfNegative val="1"/>
            <c:bubble3D val="0"/>
            <c:extLst>
              <c:ext xmlns:c16="http://schemas.microsoft.com/office/drawing/2014/chart" uri="{C3380CC4-5D6E-409C-BE32-E72D297353CC}">
                <c16:uniqueId val="{00000011-ECF2-4774-A9B3-59BCC6837E98}"/>
              </c:ext>
            </c:extLst>
          </c:dPt>
          <c:dPt>
            <c:idx val="9"/>
            <c:invertIfNegative val="1"/>
            <c:bubble3D val="0"/>
            <c:extLst>
              <c:ext xmlns:c16="http://schemas.microsoft.com/office/drawing/2014/chart" uri="{C3380CC4-5D6E-409C-BE32-E72D297353CC}">
                <c16:uniqueId val="{00000013-ECF2-4774-A9B3-59BCC6837E98}"/>
              </c:ext>
            </c:extLst>
          </c:dPt>
          <c:dPt>
            <c:idx val="10"/>
            <c:invertIfNegative val="1"/>
            <c:bubble3D val="0"/>
            <c:extLst>
              <c:ext xmlns:c16="http://schemas.microsoft.com/office/drawing/2014/chart" uri="{C3380CC4-5D6E-409C-BE32-E72D297353CC}">
                <c16:uniqueId val="{00000015-ECF2-4774-A9B3-59BCC6837E98}"/>
              </c:ext>
            </c:extLst>
          </c:dPt>
          <c:dPt>
            <c:idx val="11"/>
            <c:invertIfNegative val="1"/>
            <c:bubble3D val="0"/>
            <c:extLst>
              <c:ext xmlns:c16="http://schemas.microsoft.com/office/drawing/2014/chart" uri="{C3380CC4-5D6E-409C-BE32-E72D297353CC}">
                <c16:uniqueId val="{00000017-ECF2-4774-A9B3-59BCC6837E98}"/>
              </c:ext>
            </c:extLst>
          </c:dPt>
          <c:dPt>
            <c:idx val="12"/>
            <c:invertIfNegative val="1"/>
            <c:bubble3D val="0"/>
            <c:extLst>
              <c:ext xmlns:c16="http://schemas.microsoft.com/office/drawing/2014/chart" uri="{C3380CC4-5D6E-409C-BE32-E72D297353CC}">
                <c16:uniqueId val="{00000019-ECF2-4774-A9B3-59BCC6837E98}"/>
              </c:ext>
            </c:extLst>
          </c:dPt>
          <c:dPt>
            <c:idx val="13"/>
            <c:invertIfNegative val="1"/>
            <c:bubble3D val="0"/>
            <c:extLst>
              <c:ext xmlns:c16="http://schemas.microsoft.com/office/drawing/2014/chart" uri="{C3380CC4-5D6E-409C-BE32-E72D297353CC}">
                <c16:uniqueId val="{0000001B-ECF2-4774-A9B3-59BCC6837E98}"/>
              </c:ext>
            </c:extLst>
          </c:dPt>
          <c:dPt>
            <c:idx val="14"/>
            <c:invertIfNegative val="1"/>
            <c:bubble3D val="0"/>
            <c:extLst>
              <c:ext xmlns:c16="http://schemas.microsoft.com/office/drawing/2014/chart" uri="{C3380CC4-5D6E-409C-BE32-E72D297353CC}">
                <c16:uniqueId val="{0000001D-ECF2-4774-A9B3-59BCC6837E98}"/>
              </c:ext>
            </c:extLst>
          </c:dPt>
          <c:dPt>
            <c:idx val="15"/>
            <c:invertIfNegative val="1"/>
            <c:bubble3D val="0"/>
            <c:extLst>
              <c:ext xmlns:c16="http://schemas.microsoft.com/office/drawing/2014/chart" uri="{C3380CC4-5D6E-409C-BE32-E72D297353CC}">
                <c16:uniqueId val="{0000001F-ECF2-4774-A9B3-59BCC6837E98}"/>
              </c:ext>
            </c:extLst>
          </c:dPt>
          <c:dPt>
            <c:idx val="16"/>
            <c:invertIfNegative val="1"/>
            <c:bubble3D val="0"/>
            <c:extLst>
              <c:ext xmlns:c16="http://schemas.microsoft.com/office/drawing/2014/chart" uri="{C3380CC4-5D6E-409C-BE32-E72D297353CC}">
                <c16:uniqueId val="{00000021-ECF2-4774-A9B3-59BCC6837E98}"/>
              </c:ext>
            </c:extLst>
          </c:dPt>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22.7%</a:t>
                    </a:r>
                  </a:p>
                </c:rich>
              </c:tx>
              <c:dLblPos val="ctr"/>
              <c:showLegendKey val="0"/>
              <c:showVal val="1"/>
              <c:showCatName val="0"/>
              <c:showSerName val="0"/>
              <c:showPercent val="0"/>
              <c:showBubbleSize val="0"/>
            </c:dLbl>
            <c:dLbl>
              <c:idx val="2"/>
              <c:tx>
                <c:rich>
                  <a:bodyPr/>
                  <a:lstStyle/>
                  <a:p>
                    <a:pPr>
                      <a:defRPr sz="800">
                        <a:latin typeface="Nexa Book"/>
                      </a:defRPr>
                    </a:pPr>
                    <a:r>
                      <a:t>+18.3%</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0.0</c:v>
                </c:pt>
                <c:pt idx="1">
                  <c:v>0.22660000000000002</c:v>
                </c:pt>
                <c:pt idx="2">
                  <c:v>0.18250000000000005</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55.3 %</a:t>
                    </a:r>
                  </a:p>
                </c:rich>
              </c:tx>
              <c:dLblPos val="ctr"/>
              <c:showLegendKey val="0"/>
              <c:showVal val="1"/>
              <c:showCatName val="0"/>
              <c:showSerName val="0"/>
              <c:showPercent val="0"/>
              <c:showBubbleSize val="0"/>
            </c:dLbl>
            <c:dLbl>
              <c:idx val="2"/>
              <c:tx>
                <c:rich>
                  <a:bodyPr/>
                  <a:lstStyle/>
                  <a:p>
                    <a:pPr>
                      <a:defRPr sz="800">
                        <a:latin typeface="Nexa Book"/>
                      </a:defRPr>
                    </a:pPr>
                    <a:r>
                      <a:t>44.7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1.0</c:v>
                </c:pt>
                <c:pt idx="1">
                  <c:v>0.5533</c:v>
                </c:pt>
                <c:pt idx="2">
                  <c:v>0.446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54.4 %</a:t>
                    </a:r>
                  </a:p>
                </c:rich>
              </c:tx>
              <c:dLblPos val="ctr"/>
              <c:showLegendKey val="0"/>
              <c:showVal val="1"/>
              <c:showCatName val="0"/>
              <c:showSerName val="0"/>
              <c:showPercent val="0"/>
              <c:showBubbleSize val="0"/>
            </c:dLbl>
            <c:dLbl>
              <c:idx val="2"/>
              <c:tx>
                <c:rich>
                  <a:bodyPr/>
                  <a:lstStyle/>
                  <a:p>
                    <a:pPr>
                      <a:defRPr sz="800">
                        <a:latin typeface="Nexa Book"/>
                      </a:defRPr>
                    </a:pPr>
                    <a:r>
                      <a:t>45.6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1.0</c:v>
                </c:pt>
                <c:pt idx="1">
                  <c:v>0.5437</c:v>
                </c:pt>
                <c:pt idx="2">
                  <c:v>0.456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44</a:t>
                    </a:r>
                  </a:p>
                </c:rich>
              </c:tx>
              <c:dLblPos val="ctr"/>
              <c:showLegendKey val="0"/>
              <c:showVal val="1"/>
              <c:showCatName val="0"/>
              <c:showSerName val="0"/>
              <c:showPercent val="0"/>
              <c:showBubbleSize val="0"/>
            </c:dLbl>
            <c:dLbl>
              <c:idx val="1"/>
              <c:tx>
                <c:rich>
                  <a:bodyPr/>
                  <a:lstStyle/>
                  <a:p>
                    <a:pPr>
                      <a:defRPr sz="800">
                        <a:latin typeface="Nexa Book"/>
                      </a:defRPr>
                    </a:pPr>
                    <a:r>
                      <a:t>24</a:t>
                    </a:r>
                  </a:p>
                </c:rich>
              </c:tx>
              <c:dLblPos val="ctr"/>
              <c:showLegendKey val="0"/>
              <c:showVal val="1"/>
              <c:showCatName val="0"/>
              <c:showSerName val="0"/>
              <c:showPercent val="0"/>
              <c:showBubbleSize val="0"/>
            </c:dLbl>
            <c:dLbl>
              <c:idx val="2"/>
              <c:tx>
                <c:rich>
                  <a:bodyPr/>
                  <a:lstStyle/>
                  <a:p>
                    <a:pPr>
                      <a:defRPr sz="800">
                        <a:latin typeface="Nexa Book"/>
                      </a:defRPr>
                    </a:pPr>
                    <a:r>
                      <a:t>20</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43709441.0</c:v>
                </c:pt>
                <c:pt idx="1">
                  <c:v>24183221.0</c:v>
                </c:pt>
                <c:pt idx="2">
                  <c:v>19526220.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12</a:t>
                    </a:r>
                  </a:p>
                </c:rich>
              </c:tx>
              <c:dLblPos val="ctr"/>
              <c:showLegendKey val="0"/>
              <c:showVal val="1"/>
              <c:showCatName val="0"/>
              <c:showSerName val="0"/>
              <c:showPercent val="0"/>
              <c:showBubbleSize val="0"/>
            </c:dLbl>
            <c:dLbl>
              <c:idx val="1"/>
              <c:tx>
                <c:rich>
                  <a:bodyPr/>
                  <a:lstStyle/>
                  <a:p>
                    <a:pPr>
                      <a:defRPr sz="800">
                        <a:latin typeface="Nexa Book"/>
                      </a:defRPr>
                    </a:pPr>
                    <a:r>
                      <a:t>7</a:t>
                    </a:r>
                  </a:p>
                </c:rich>
              </c:tx>
              <c:dLblPos val="ctr"/>
              <c:showLegendKey val="0"/>
              <c:showVal val="1"/>
              <c:showCatName val="0"/>
              <c:showSerName val="0"/>
              <c:showPercent val="0"/>
              <c:showBubbleSize val="0"/>
            </c:dLbl>
            <c:dLbl>
              <c:idx val="2"/>
              <c:tx>
                <c:rich>
                  <a:bodyPr/>
                  <a:lstStyle/>
                  <a:p>
                    <a:pPr>
                      <a:defRPr sz="800">
                        <a:latin typeface="Nexa Book"/>
                      </a:defRPr>
                    </a:pPr>
                    <a:r>
                      <a:t>6</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12399708.0</c:v>
                </c:pt>
                <c:pt idx="1">
                  <c:v>6741110.0</c:v>
                </c:pt>
                <c:pt idx="2">
                  <c:v>5658598.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1-2960-4508-BA80-9CD1D30EF006}"/>
              </c:ext>
            </c:extLst>
          </c:dPt>
          <c:dPt>
            <c:idx val="1"/>
            <c:invertIfNegative val="1"/>
            <c:bubble3D val="0"/>
            <c:extLst>
              <c:ext xmlns:c16="http://schemas.microsoft.com/office/drawing/2014/chart" uri="{C3380CC4-5D6E-409C-BE32-E72D297353CC}">
                <c16:uniqueId val="{00000003-A2FA-4046-9F96-F8B0F3C1321B}"/>
              </c:ext>
            </c:extLst>
          </c:dPt>
          <c:dPt>
            <c:idx val="2"/>
            <c:invertIfNegative val="1"/>
            <c:bubble3D val="0"/>
            <c:extLst>
              <c:ext xmlns:c16="http://schemas.microsoft.com/office/drawing/2014/chart" uri="{C3380CC4-5D6E-409C-BE32-E72D297353CC}">
                <c16:uniqueId val="{00000005-A2FA-4046-9F96-F8B0F3C1321B}"/>
              </c:ext>
            </c:extLst>
          </c:dPt>
          <c:dPt>
            <c:idx val="3"/>
            <c:invertIfNegative val="1"/>
            <c:bubble3D val="0"/>
            <c:extLst>
              <c:ext xmlns:c16="http://schemas.microsoft.com/office/drawing/2014/chart" uri="{C3380CC4-5D6E-409C-BE32-E72D297353CC}">
                <c16:uniqueId val="{00000002-2960-4508-BA80-9CD1D30EF006}"/>
              </c:ext>
            </c:extLst>
          </c:dPt>
          <c:dPt>
            <c:idx val="4"/>
            <c:invertIfNegative val="1"/>
            <c:bubble3D val="0"/>
            <c:extLst>
              <c:ext xmlns:c16="http://schemas.microsoft.com/office/drawing/2014/chart" uri="{C3380CC4-5D6E-409C-BE32-E72D297353CC}">
                <c16:uniqueId val="{00000009-A2FA-4046-9F96-F8B0F3C1321B}"/>
              </c:ext>
            </c:extLst>
          </c:dPt>
          <c:dPt>
            <c:idx val="5"/>
            <c:invertIfNegative val="1"/>
            <c:bubble3D val="0"/>
            <c:extLst>
              <c:ext xmlns:c16="http://schemas.microsoft.com/office/drawing/2014/chart" uri="{C3380CC4-5D6E-409C-BE32-E72D297353CC}">
                <c16:uniqueId val="{0000000B-A2FA-4046-9F96-F8B0F3C1321B}"/>
              </c:ext>
            </c:extLst>
          </c:dPt>
          <c:dPt>
            <c:idx val="6"/>
            <c:invertIfNegative val="1"/>
            <c:bubble3D val="0"/>
            <c:extLst>
              <c:ext xmlns:c16="http://schemas.microsoft.com/office/drawing/2014/chart" uri="{C3380CC4-5D6E-409C-BE32-E72D297353CC}">
                <c16:uniqueId val="{0000000D-A2FA-4046-9F96-F8B0F3C1321B}"/>
              </c:ext>
            </c:extLst>
          </c:dPt>
          <c:dPt>
            <c:idx val="7"/>
            <c:invertIfNegative val="1"/>
            <c:bubble3D val="0"/>
            <c:extLst>
              <c:ext xmlns:c16="http://schemas.microsoft.com/office/drawing/2014/chart" uri="{C3380CC4-5D6E-409C-BE32-E72D297353CC}">
                <c16:uniqueId val="{00000000-2960-4508-BA80-9CD1D30EF006}"/>
              </c:ext>
            </c:extLst>
          </c:dPt>
          <c:dPt>
            <c:idx val="8"/>
            <c:invertIfNegative val="1"/>
            <c:bubble3D val="0"/>
            <c:extLst>
              <c:ext xmlns:c16="http://schemas.microsoft.com/office/drawing/2014/chart" uri="{C3380CC4-5D6E-409C-BE32-E72D297353CC}">
                <c16:uniqueId val="{00000011-A2FA-4046-9F96-F8B0F3C1321B}"/>
              </c:ext>
            </c:extLst>
          </c:dPt>
          <c:dPt>
            <c:idx val="9"/>
            <c:invertIfNegative val="1"/>
            <c:bubble3D val="0"/>
            <c:extLst>
              <c:ext xmlns:c16="http://schemas.microsoft.com/office/drawing/2014/chart" uri="{C3380CC4-5D6E-409C-BE32-E72D297353CC}">
                <c16:uniqueId val="{00000013-A2FA-4046-9F96-F8B0F3C1321B}"/>
              </c:ext>
            </c:extLst>
          </c:dPt>
          <c:dPt>
            <c:idx val="10"/>
            <c:invertIfNegative val="1"/>
            <c:bubble3D val="0"/>
            <c:extLst>
              <c:ext xmlns:c16="http://schemas.microsoft.com/office/drawing/2014/chart" uri="{C3380CC4-5D6E-409C-BE32-E72D297353CC}">
                <c16:uniqueId val="{00000015-A2FA-4046-9F96-F8B0F3C1321B}"/>
              </c:ext>
            </c:extLst>
          </c:dPt>
          <c:dPt>
            <c:idx val="11"/>
            <c:invertIfNegative val="1"/>
            <c:bubble3D val="0"/>
            <c:extLst>
              <c:ext xmlns:c16="http://schemas.microsoft.com/office/drawing/2014/chart" uri="{C3380CC4-5D6E-409C-BE32-E72D297353CC}">
                <c16:uniqueId val="{00000017-A2FA-4046-9F96-F8B0F3C1321B}"/>
              </c:ext>
            </c:extLst>
          </c:dPt>
          <c:dPt>
            <c:idx val="12"/>
            <c:invertIfNegative val="1"/>
            <c:bubble3D val="0"/>
            <c:extLst>
              <c:ext xmlns:c16="http://schemas.microsoft.com/office/drawing/2014/chart" uri="{C3380CC4-5D6E-409C-BE32-E72D297353CC}">
                <c16:uniqueId val="{00000019-A2FA-4046-9F96-F8B0F3C1321B}"/>
              </c:ext>
            </c:extLst>
          </c:dPt>
          <c:dPt>
            <c:idx val="13"/>
            <c:invertIfNegative val="1"/>
            <c:bubble3D val="0"/>
            <c:extLst>
              <c:ext xmlns:c16="http://schemas.microsoft.com/office/drawing/2014/chart" uri="{C3380CC4-5D6E-409C-BE32-E72D297353CC}">
                <c16:uniqueId val="{0000001B-A2FA-4046-9F96-F8B0F3C1321B}"/>
              </c:ext>
            </c:extLst>
          </c:dPt>
          <c:dPt>
            <c:idx val="14"/>
            <c:invertIfNegative val="1"/>
            <c:bubble3D val="0"/>
            <c:extLst>
              <c:ext xmlns:c16="http://schemas.microsoft.com/office/drawing/2014/chart" uri="{C3380CC4-5D6E-409C-BE32-E72D297353CC}">
                <c16:uniqueId val="{0000001D-A2FA-4046-9F96-F8B0F3C1321B}"/>
              </c:ext>
            </c:extLst>
          </c:dPt>
          <c:dPt>
            <c:idx val="15"/>
            <c:invertIfNegative val="1"/>
            <c:bubble3D val="0"/>
            <c:extLst>
              <c:ext xmlns:c16="http://schemas.microsoft.com/office/drawing/2014/chart" uri="{C3380CC4-5D6E-409C-BE32-E72D297353CC}">
                <c16:uniqueId val="{0000001F-A2FA-4046-9F96-F8B0F3C1321B}"/>
              </c:ext>
            </c:extLst>
          </c:dPt>
          <c:dPt>
            <c:idx val="16"/>
            <c:invertIfNegative val="1"/>
            <c:bubble3D val="0"/>
            <c:extLst>
              <c:ext xmlns:c16="http://schemas.microsoft.com/office/drawing/2014/chart" uri="{C3380CC4-5D6E-409C-BE32-E72D297353CC}">
                <c16:uniqueId val="{00000021-A2FA-4046-9F96-F8B0F3C1321B}"/>
              </c:ext>
            </c:extLst>
          </c:dPt>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23.9%</a:t>
                    </a:r>
                  </a:p>
                </c:rich>
              </c:tx>
              <c:dLblPos val="ctr"/>
              <c:showLegendKey val="0"/>
              <c:showVal val="1"/>
              <c:showCatName val="0"/>
              <c:showSerName val="0"/>
              <c:showPercent val="0"/>
              <c:showBubbleSize val="0"/>
            </c:dLbl>
            <c:dLbl>
              <c:idx val="2"/>
              <c:tx>
                <c:rich>
                  <a:bodyPr/>
                  <a:lstStyle/>
                  <a:p>
                    <a:pPr>
                      <a:defRPr sz="800">
                        <a:latin typeface="Nexa Book"/>
                      </a:defRPr>
                    </a:pPr>
                    <a:r>
                      <a:t>+19.4%</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0.0</c:v>
                </c:pt>
                <c:pt idx="1">
                  <c:v>0.23920000000000002</c:v>
                </c:pt>
                <c:pt idx="2">
                  <c:v>0.19389999999999996</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0-DCEF-4AAE-B747-39856A6177F4}"/>
              </c:ext>
            </c:extLst>
          </c:dPt>
          <c:dPt>
            <c:idx val="1"/>
            <c:invertIfNegative val="1"/>
            <c:bubble3D val="0"/>
            <c:extLst>
              <c:ext xmlns:c16="http://schemas.microsoft.com/office/drawing/2014/chart" uri="{C3380CC4-5D6E-409C-BE32-E72D297353CC}">
                <c16:uniqueId val="{00000003-ECF2-4774-A9B3-59BCC6837E98}"/>
              </c:ext>
            </c:extLst>
          </c:dPt>
          <c:dPt>
            <c:idx val="2"/>
            <c:invertIfNegative val="1"/>
            <c:bubble3D val="0"/>
            <c:extLst>
              <c:ext xmlns:c16="http://schemas.microsoft.com/office/drawing/2014/chart" uri="{C3380CC4-5D6E-409C-BE32-E72D297353CC}">
                <c16:uniqueId val="{00000005-ECF2-4774-A9B3-59BCC6837E98}"/>
              </c:ext>
            </c:extLst>
          </c:dPt>
          <c:dPt>
            <c:idx val="3"/>
            <c:invertIfNegative val="1"/>
            <c:bubble3D val="0"/>
            <c:extLst>
              <c:ext xmlns:c16="http://schemas.microsoft.com/office/drawing/2014/chart" uri="{C3380CC4-5D6E-409C-BE32-E72D297353CC}">
                <c16:uniqueId val="{00000001-DCEF-4AAE-B747-39856A6177F4}"/>
              </c:ext>
            </c:extLst>
          </c:dPt>
          <c:dPt>
            <c:idx val="4"/>
            <c:invertIfNegative val="1"/>
            <c:bubble3D val="0"/>
            <c:extLst>
              <c:ext xmlns:c16="http://schemas.microsoft.com/office/drawing/2014/chart" uri="{C3380CC4-5D6E-409C-BE32-E72D297353CC}">
                <c16:uniqueId val="{00000009-ECF2-4774-A9B3-59BCC6837E98}"/>
              </c:ext>
            </c:extLst>
          </c:dPt>
          <c:dPt>
            <c:idx val="5"/>
            <c:invertIfNegative val="1"/>
            <c:bubble3D val="0"/>
            <c:extLst>
              <c:ext xmlns:c16="http://schemas.microsoft.com/office/drawing/2014/chart" uri="{C3380CC4-5D6E-409C-BE32-E72D297353CC}">
                <c16:uniqueId val="{0000000B-ECF2-4774-A9B3-59BCC6837E98}"/>
              </c:ext>
            </c:extLst>
          </c:dPt>
          <c:dPt>
            <c:idx val="6"/>
            <c:invertIfNegative val="1"/>
            <c:bubble3D val="0"/>
            <c:extLst>
              <c:ext xmlns:c16="http://schemas.microsoft.com/office/drawing/2014/chart" uri="{C3380CC4-5D6E-409C-BE32-E72D297353CC}">
                <c16:uniqueId val="{0000000D-ECF2-4774-A9B3-59BCC6837E98}"/>
              </c:ext>
            </c:extLst>
          </c:dPt>
          <c:dPt>
            <c:idx val="7"/>
            <c:invertIfNegative val="1"/>
            <c:bubble3D val="0"/>
            <c:extLst>
              <c:ext xmlns:c16="http://schemas.microsoft.com/office/drawing/2014/chart" uri="{C3380CC4-5D6E-409C-BE32-E72D297353CC}">
                <c16:uniqueId val="{00000002-DCEF-4AAE-B747-39856A6177F4}"/>
              </c:ext>
            </c:extLst>
          </c:dPt>
          <c:dPt>
            <c:idx val="8"/>
            <c:invertIfNegative val="1"/>
            <c:bubble3D val="0"/>
            <c:extLst>
              <c:ext xmlns:c16="http://schemas.microsoft.com/office/drawing/2014/chart" uri="{C3380CC4-5D6E-409C-BE32-E72D297353CC}">
                <c16:uniqueId val="{00000011-ECF2-4774-A9B3-59BCC6837E98}"/>
              </c:ext>
            </c:extLst>
          </c:dPt>
          <c:dPt>
            <c:idx val="9"/>
            <c:invertIfNegative val="1"/>
            <c:bubble3D val="0"/>
            <c:extLst>
              <c:ext xmlns:c16="http://schemas.microsoft.com/office/drawing/2014/chart" uri="{C3380CC4-5D6E-409C-BE32-E72D297353CC}">
                <c16:uniqueId val="{00000013-ECF2-4774-A9B3-59BCC6837E98}"/>
              </c:ext>
            </c:extLst>
          </c:dPt>
          <c:dPt>
            <c:idx val="10"/>
            <c:invertIfNegative val="1"/>
            <c:bubble3D val="0"/>
            <c:extLst>
              <c:ext xmlns:c16="http://schemas.microsoft.com/office/drawing/2014/chart" uri="{C3380CC4-5D6E-409C-BE32-E72D297353CC}">
                <c16:uniqueId val="{00000015-ECF2-4774-A9B3-59BCC6837E98}"/>
              </c:ext>
            </c:extLst>
          </c:dPt>
          <c:dPt>
            <c:idx val="11"/>
            <c:invertIfNegative val="1"/>
            <c:bubble3D val="0"/>
            <c:extLst>
              <c:ext xmlns:c16="http://schemas.microsoft.com/office/drawing/2014/chart" uri="{C3380CC4-5D6E-409C-BE32-E72D297353CC}">
                <c16:uniqueId val="{00000017-ECF2-4774-A9B3-59BCC6837E98}"/>
              </c:ext>
            </c:extLst>
          </c:dPt>
          <c:dPt>
            <c:idx val="12"/>
            <c:invertIfNegative val="1"/>
            <c:bubble3D val="0"/>
            <c:extLst>
              <c:ext xmlns:c16="http://schemas.microsoft.com/office/drawing/2014/chart" uri="{C3380CC4-5D6E-409C-BE32-E72D297353CC}">
                <c16:uniqueId val="{00000019-ECF2-4774-A9B3-59BCC6837E98}"/>
              </c:ext>
            </c:extLst>
          </c:dPt>
          <c:dPt>
            <c:idx val="13"/>
            <c:invertIfNegative val="1"/>
            <c:bubble3D val="0"/>
            <c:extLst>
              <c:ext xmlns:c16="http://schemas.microsoft.com/office/drawing/2014/chart" uri="{C3380CC4-5D6E-409C-BE32-E72D297353CC}">
                <c16:uniqueId val="{0000001B-ECF2-4774-A9B3-59BCC6837E98}"/>
              </c:ext>
            </c:extLst>
          </c:dPt>
          <c:dPt>
            <c:idx val="14"/>
            <c:invertIfNegative val="1"/>
            <c:bubble3D val="0"/>
            <c:extLst>
              <c:ext xmlns:c16="http://schemas.microsoft.com/office/drawing/2014/chart" uri="{C3380CC4-5D6E-409C-BE32-E72D297353CC}">
                <c16:uniqueId val="{0000001D-ECF2-4774-A9B3-59BCC6837E98}"/>
              </c:ext>
            </c:extLst>
          </c:dPt>
          <c:dPt>
            <c:idx val="15"/>
            <c:invertIfNegative val="1"/>
            <c:bubble3D val="0"/>
            <c:extLst>
              <c:ext xmlns:c16="http://schemas.microsoft.com/office/drawing/2014/chart" uri="{C3380CC4-5D6E-409C-BE32-E72D297353CC}">
                <c16:uniqueId val="{0000001F-ECF2-4774-A9B3-59BCC6837E98}"/>
              </c:ext>
            </c:extLst>
          </c:dPt>
          <c:dPt>
            <c:idx val="16"/>
            <c:invertIfNegative val="1"/>
            <c:bubble3D val="0"/>
            <c:extLst>
              <c:ext xmlns:c16="http://schemas.microsoft.com/office/drawing/2014/chart" uri="{C3380CC4-5D6E-409C-BE32-E72D297353CC}">
                <c16:uniqueId val="{00000021-ECF2-4774-A9B3-59BCC6837E98}"/>
              </c:ext>
            </c:extLst>
          </c:dPt>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19.6%</a:t>
                    </a:r>
                  </a:p>
                </c:rich>
              </c:tx>
              <c:dLblPos val="ctr"/>
              <c:showLegendKey val="0"/>
              <c:showVal val="1"/>
              <c:showCatName val="0"/>
              <c:showSerName val="0"/>
              <c:showPercent val="0"/>
              <c:showBubbleSize val="0"/>
            </c:dLbl>
            <c:dLbl>
              <c:idx val="2"/>
              <c:tx>
                <c:rich>
                  <a:bodyPr/>
                  <a:lstStyle/>
                  <a:p>
                    <a:pPr>
                      <a:defRPr sz="800">
                        <a:latin typeface="Nexa Book"/>
                      </a:defRPr>
                    </a:pPr>
                    <a:r>
                      <a:t>+21.3%</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0.0</c:v>
                </c:pt>
                <c:pt idx="1">
                  <c:v>0.19639999999999996</c:v>
                </c:pt>
                <c:pt idx="2">
                  <c:v>0.21259999999999998</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55.3 %</a:t>
                    </a:r>
                  </a:p>
                </c:rich>
              </c:tx>
              <c:dLblPos val="ctr"/>
              <c:showLegendKey val="0"/>
              <c:showVal val="1"/>
              <c:showCatName val="0"/>
              <c:showSerName val="0"/>
              <c:showPercent val="0"/>
              <c:showBubbleSize val="0"/>
            </c:dLbl>
            <c:dLbl>
              <c:idx val="2"/>
              <c:tx>
                <c:rich>
                  <a:bodyPr/>
                  <a:lstStyle/>
                  <a:p>
                    <a:pPr>
                      <a:defRPr sz="800">
                        <a:latin typeface="Nexa Book"/>
                      </a:defRPr>
                    </a:pPr>
                    <a:r>
                      <a:t>44.7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1.0</c:v>
                </c:pt>
                <c:pt idx="1">
                  <c:v>0.5533</c:v>
                </c:pt>
                <c:pt idx="2">
                  <c:v>0.446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3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6933308746636515</c:v>
                </c:pt>
                <c:pt idx="1">
                  <c:v>0.20235702310098097</c:v>
                </c:pt>
                <c:pt idx="2">
                  <c:v>0.049042210667553085</c:v>
                </c:pt>
                <c:pt idx="3">
                  <c:v>0.02427066071086287</c:v>
                </c:pt>
                <c:pt idx="4">
                  <c:v>0.03099923085695152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55.9 %</a:t>
                    </a:r>
                  </a:p>
                </c:rich>
              </c:tx>
              <c:dLblPos val="ctr"/>
              <c:showLegendKey val="0"/>
              <c:showVal val="1"/>
              <c:showCatName val="0"/>
              <c:showSerName val="0"/>
              <c:showPercent val="0"/>
              <c:showBubbleSize val="0"/>
            </c:dLbl>
            <c:dLbl>
              <c:idx val="2"/>
              <c:tx>
                <c:rich>
                  <a:bodyPr/>
                  <a:lstStyle/>
                  <a:p>
                    <a:pPr>
                      <a:defRPr sz="800">
                        <a:latin typeface="Nexa Book"/>
                      </a:defRPr>
                    </a:pPr>
                    <a:r>
                      <a:t>44.1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1.0</c:v>
                </c:pt>
                <c:pt idx="1">
                  <c:v>0.5589</c:v>
                </c:pt>
                <c:pt idx="2">
                  <c:v>0.4411</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44</a:t>
                    </a:r>
                  </a:p>
                </c:rich>
              </c:tx>
              <c:dLblPos val="ctr"/>
              <c:showLegendKey val="0"/>
              <c:showVal val="1"/>
              <c:showCatName val="0"/>
              <c:showSerName val="0"/>
              <c:showPercent val="0"/>
              <c:showBubbleSize val="0"/>
            </c:dLbl>
            <c:dLbl>
              <c:idx val="1"/>
              <c:tx>
                <c:rich>
                  <a:bodyPr/>
                  <a:lstStyle/>
                  <a:p>
                    <a:pPr>
                      <a:defRPr sz="800">
                        <a:latin typeface="Nexa Book"/>
                      </a:defRPr>
                    </a:pPr>
                    <a:r>
                      <a:t>24</a:t>
                    </a:r>
                  </a:p>
                </c:rich>
              </c:tx>
              <c:dLblPos val="ctr"/>
              <c:showLegendKey val="0"/>
              <c:showVal val="1"/>
              <c:showCatName val="0"/>
              <c:showSerName val="0"/>
              <c:showPercent val="0"/>
              <c:showBubbleSize val="0"/>
            </c:dLbl>
            <c:dLbl>
              <c:idx val="2"/>
              <c:tx>
                <c:rich>
                  <a:bodyPr/>
                  <a:lstStyle/>
                  <a:p>
                    <a:pPr>
                      <a:defRPr sz="800">
                        <a:latin typeface="Nexa Book"/>
                      </a:defRPr>
                    </a:pPr>
                    <a:r>
                      <a:t>20</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43709441.0</c:v>
                </c:pt>
                <c:pt idx="1">
                  <c:v>24183221.0</c:v>
                </c:pt>
                <c:pt idx="2">
                  <c:v>19526220.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34</a:t>
                    </a:r>
                  </a:p>
                </c:rich>
              </c:tx>
              <c:dLblPos val="ctr"/>
              <c:showLegendKey val="0"/>
              <c:showVal val="1"/>
              <c:showCatName val="0"/>
              <c:showSerName val="0"/>
              <c:showPercent val="0"/>
              <c:showBubbleSize val="0"/>
            </c:dLbl>
            <c:dLbl>
              <c:idx val="1"/>
              <c:tx>
                <c:rich>
                  <a:bodyPr/>
                  <a:lstStyle/>
                  <a:p>
                    <a:pPr>
                      <a:defRPr sz="800">
                        <a:latin typeface="Nexa Book"/>
                      </a:defRPr>
                    </a:pPr>
                    <a:r>
                      <a:t>19</a:t>
                    </a:r>
                  </a:p>
                </c:rich>
              </c:tx>
              <c:dLblPos val="ctr"/>
              <c:showLegendKey val="0"/>
              <c:showVal val="1"/>
              <c:showCatName val="0"/>
              <c:showSerName val="0"/>
              <c:showPercent val="0"/>
              <c:showBubbleSize val="0"/>
            </c:dLbl>
            <c:dLbl>
              <c:idx val="2"/>
              <c:tx>
                <c:rich>
                  <a:bodyPr/>
                  <a:lstStyle/>
                  <a:p>
                    <a:pPr>
                      <a:defRPr sz="800">
                        <a:latin typeface="Nexa Book"/>
                      </a:defRPr>
                    </a:pPr>
                    <a:r>
                      <a:t>15</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33880143.0</c:v>
                </c:pt>
                <c:pt idx="1">
                  <c:v>18935384.0</c:v>
                </c:pt>
                <c:pt idx="2">
                  <c:v>14944759.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1-2960-4508-BA80-9CD1D30EF006}"/>
              </c:ext>
            </c:extLst>
          </c:dPt>
          <c:dPt>
            <c:idx val="1"/>
            <c:invertIfNegative val="1"/>
            <c:bubble3D val="0"/>
            <c:extLst>
              <c:ext xmlns:c16="http://schemas.microsoft.com/office/drawing/2014/chart" uri="{C3380CC4-5D6E-409C-BE32-E72D297353CC}">
                <c16:uniqueId val="{00000003-A2FA-4046-9F96-F8B0F3C1321B}"/>
              </c:ext>
            </c:extLst>
          </c:dPt>
          <c:dPt>
            <c:idx val="2"/>
            <c:invertIfNegative val="1"/>
            <c:bubble3D val="0"/>
            <c:extLst>
              <c:ext xmlns:c16="http://schemas.microsoft.com/office/drawing/2014/chart" uri="{C3380CC4-5D6E-409C-BE32-E72D297353CC}">
                <c16:uniqueId val="{00000005-A2FA-4046-9F96-F8B0F3C1321B}"/>
              </c:ext>
            </c:extLst>
          </c:dPt>
          <c:dPt>
            <c:idx val="3"/>
            <c:invertIfNegative val="1"/>
            <c:bubble3D val="0"/>
            <c:extLst>
              <c:ext xmlns:c16="http://schemas.microsoft.com/office/drawing/2014/chart" uri="{C3380CC4-5D6E-409C-BE32-E72D297353CC}">
                <c16:uniqueId val="{00000002-2960-4508-BA80-9CD1D30EF006}"/>
              </c:ext>
            </c:extLst>
          </c:dPt>
          <c:dPt>
            <c:idx val="4"/>
            <c:invertIfNegative val="1"/>
            <c:bubble3D val="0"/>
            <c:extLst>
              <c:ext xmlns:c16="http://schemas.microsoft.com/office/drawing/2014/chart" uri="{C3380CC4-5D6E-409C-BE32-E72D297353CC}">
                <c16:uniqueId val="{00000009-A2FA-4046-9F96-F8B0F3C1321B}"/>
              </c:ext>
            </c:extLst>
          </c:dPt>
          <c:dPt>
            <c:idx val="5"/>
            <c:invertIfNegative val="1"/>
            <c:bubble3D val="0"/>
            <c:extLst>
              <c:ext xmlns:c16="http://schemas.microsoft.com/office/drawing/2014/chart" uri="{C3380CC4-5D6E-409C-BE32-E72D297353CC}">
                <c16:uniqueId val="{0000000B-A2FA-4046-9F96-F8B0F3C1321B}"/>
              </c:ext>
            </c:extLst>
          </c:dPt>
          <c:dPt>
            <c:idx val="6"/>
            <c:invertIfNegative val="1"/>
            <c:bubble3D val="0"/>
            <c:extLst>
              <c:ext xmlns:c16="http://schemas.microsoft.com/office/drawing/2014/chart" uri="{C3380CC4-5D6E-409C-BE32-E72D297353CC}">
                <c16:uniqueId val="{0000000D-A2FA-4046-9F96-F8B0F3C1321B}"/>
              </c:ext>
            </c:extLst>
          </c:dPt>
          <c:dPt>
            <c:idx val="7"/>
            <c:invertIfNegative val="1"/>
            <c:bubble3D val="0"/>
            <c:extLst>
              <c:ext xmlns:c16="http://schemas.microsoft.com/office/drawing/2014/chart" uri="{C3380CC4-5D6E-409C-BE32-E72D297353CC}">
                <c16:uniqueId val="{00000000-2960-4508-BA80-9CD1D30EF006}"/>
              </c:ext>
            </c:extLst>
          </c:dPt>
          <c:dPt>
            <c:idx val="8"/>
            <c:invertIfNegative val="1"/>
            <c:bubble3D val="0"/>
            <c:extLst>
              <c:ext xmlns:c16="http://schemas.microsoft.com/office/drawing/2014/chart" uri="{C3380CC4-5D6E-409C-BE32-E72D297353CC}">
                <c16:uniqueId val="{00000011-A2FA-4046-9F96-F8B0F3C1321B}"/>
              </c:ext>
            </c:extLst>
          </c:dPt>
          <c:dPt>
            <c:idx val="9"/>
            <c:invertIfNegative val="1"/>
            <c:bubble3D val="0"/>
            <c:extLst>
              <c:ext xmlns:c16="http://schemas.microsoft.com/office/drawing/2014/chart" uri="{C3380CC4-5D6E-409C-BE32-E72D297353CC}">
                <c16:uniqueId val="{00000013-A2FA-4046-9F96-F8B0F3C1321B}"/>
              </c:ext>
            </c:extLst>
          </c:dPt>
          <c:dPt>
            <c:idx val="10"/>
            <c:invertIfNegative val="1"/>
            <c:bubble3D val="0"/>
            <c:extLst>
              <c:ext xmlns:c16="http://schemas.microsoft.com/office/drawing/2014/chart" uri="{C3380CC4-5D6E-409C-BE32-E72D297353CC}">
                <c16:uniqueId val="{00000015-A2FA-4046-9F96-F8B0F3C1321B}"/>
              </c:ext>
            </c:extLst>
          </c:dPt>
          <c:dPt>
            <c:idx val="11"/>
            <c:invertIfNegative val="1"/>
            <c:bubble3D val="0"/>
            <c:extLst>
              <c:ext xmlns:c16="http://schemas.microsoft.com/office/drawing/2014/chart" uri="{C3380CC4-5D6E-409C-BE32-E72D297353CC}">
                <c16:uniqueId val="{00000017-A2FA-4046-9F96-F8B0F3C1321B}"/>
              </c:ext>
            </c:extLst>
          </c:dPt>
          <c:dPt>
            <c:idx val="12"/>
            <c:invertIfNegative val="1"/>
            <c:bubble3D val="0"/>
            <c:extLst>
              <c:ext xmlns:c16="http://schemas.microsoft.com/office/drawing/2014/chart" uri="{C3380CC4-5D6E-409C-BE32-E72D297353CC}">
                <c16:uniqueId val="{00000019-A2FA-4046-9F96-F8B0F3C1321B}"/>
              </c:ext>
            </c:extLst>
          </c:dPt>
          <c:dPt>
            <c:idx val="13"/>
            <c:invertIfNegative val="1"/>
            <c:bubble3D val="0"/>
            <c:extLst>
              <c:ext xmlns:c16="http://schemas.microsoft.com/office/drawing/2014/chart" uri="{C3380CC4-5D6E-409C-BE32-E72D297353CC}">
                <c16:uniqueId val="{0000001B-A2FA-4046-9F96-F8B0F3C1321B}"/>
              </c:ext>
            </c:extLst>
          </c:dPt>
          <c:dPt>
            <c:idx val="14"/>
            <c:invertIfNegative val="1"/>
            <c:bubble3D val="0"/>
            <c:extLst>
              <c:ext xmlns:c16="http://schemas.microsoft.com/office/drawing/2014/chart" uri="{C3380CC4-5D6E-409C-BE32-E72D297353CC}">
                <c16:uniqueId val="{0000001D-A2FA-4046-9F96-F8B0F3C1321B}"/>
              </c:ext>
            </c:extLst>
          </c:dPt>
          <c:dPt>
            <c:idx val="15"/>
            <c:invertIfNegative val="1"/>
            <c:bubble3D val="0"/>
            <c:extLst>
              <c:ext xmlns:c16="http://schemas.microsoft.com/office/drawing/2014/chart" uri="{C3380CC4-5D6E-409C-BE32-E72D297353CC}">
                <c16:uniqueId val="{0000001F-A2FA-4046-9F96-F8B0F3C1321B}"/>
              </c:ext>
            </c:extLst>
          </c:dPt>
          <c:dPt>
            <c:idx val="16"/>
            <c:invertIfNegative val="1"/>
            <c:bubble3D val="0"/>
            <c:extLst>
              <c:ext xmlns:c16="http://schemas.microsoft.com/office/drawing/2014/chart" uri="{C3380CC4-5D6E-409C-BE32-E72D297353CC}">
                <c16:uniqueId val="{00000021-A2FA-4046-9F96-F8B0F3C1321B}"/>
              </c:ext>
            </c:extLst>
          </c:dPt>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23.9%</a:t>
                    </a:r>
                  </a:p>
                </c:rich>
              </c:tx>
              <c:dLblPos val="ctr"/>
              <c:showLegendKey val="0"/>
              <c:showVal val="1"/>
              <c:showCatName val="0"/>
              <c:showSerName val="0"/>
              <c:showPercent val="0"/>
              <c:showBubbleSize val="0"/>
            </c:dLbl>
            <c:dLbl>
              <c:idx val="2"/>
              <c:tx>
                <c:rich>
                  <a:bodyPr/>
                  <a:lstStyle/>
                  <a:p>
                    <a:pPr>
                      <a:defRPr sz="800">
                        <a:latin typeface="Nexa Book"/>
                      </a:defRPr>
                    </a:pPr>
                    <a:r>
                      <a:t>+19.4%</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0.0</c:v>
                </c:pt>
                <c:pt idx="1">
                  <c:v>0.23920000000000002</c:v>
                </c:pt>
                <c:pt idx="2">
                  <c:v>0.19389999999999996</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0-DCEF-4AAE-B747-39856A6177F4}"/>
              </c:ext>
            </c:extLst>
          </c:dPt>
          <c:dPt>
            <c:idx val="1"/>
            <c:invertIfNegative val="1"/>
            <c:bubble3D val="0"/>
            <c:extLst>
              <c:ext xmlns:c16="http://schemas.microsoft.com/office/drawing/2014/chart" uri="{C3380CC4-5D6E-409C-BE32-E72D297353CC}">
                <c16:uniqueId val="{00000003-ECF2-4774-A9B3-59BCC6837E98}"/>
              </c:ext>
            </c:extLst>
          </c:dPt>
          <c:dPt>
            <c:idx val="2"/>
            <c:invertIfNegative val="1"/>
            <c:bubble3D val="0"/>
            <c:extLst>
              <c:ext xmlns:c16="http://schemas.microsoft.com/office/drawing/2014/chart" uri="{C3380CC4-5D6E-409C-BE32-E72D297353CC}">
                <c16:uniqueId val="{00000005-ECF2-4774-A9B3-59BCC6837E98}"/>
              </c:ext>
            </c:extLst>
          </c:dPt>
          <c:dPt>
            <c:idx val="3"/>
            <c:invertIfNegative val="1"/>
            <c:bubble3D val="0"/>
            <c:extLst>
              <c:ext xmlns:c16="http://schemas.microsoft.com/office/drawing/2014/chart" uri="{C3380CC4-5D6E-409C-BE32-E72D297353CC}">
                <c16:uniqueId val="{00000001-DCEF-4AAE-B747-39856A6177F4}"/>
              </c:ext>
            </c:extLst>
          </c:dPt>
          <c:dPt>
            <c:idx val="4"/>
            <c:invertIfNegative val="1"/>
            <c:bubble3D val="0"/>
            <c:extLst>
              <c:ext xmlns:c16="http://schemas.microsoft.com/office/drawing/2014/chart" uri="{C3380CC4-5D6E-409C-BE32-E72D297353CC}">
                <c16:uniqueId val="{00000009-ECF2-4774-A9B3-59BCC6837E98}"/>
              </c:ext>
            </c:extLst>
          </c:dPt>
          <c:dPt>
            <c:idx val="5"/>
            <c:invertIfNegative val="1"/>
            <c:bubble3D val="0"/>
            <c:extLst>
              <c:ext xmlns:c16="http://schemas.microsoft.com/office/drawing/2014/chart" uri="{C3380CC4-5D6E-409C-BE32-E72D297353CC}">
                <c16:uniqueId val="{0000000B-ECF2-4774-A9B3-59BCC6837E98}"/>
              </c:ext>
            </c:extLst>
          </c:dPt>
          <c:dPt>
            <c:idx val="6"/>
            <c:invertIfNegative val="1"/>
            <c:bubble3D val="0"/>
            <c:extLst>
              <c:ext xmlns:c16="http://schemas.microsoft.com/office/drawing/2014/chart" uri="{C3380CC4-5D6E-409C-BE32-E72D297353CC}">
                <c16:uniqueId val="{0000000D-ECF2-4774-A9B3-59BCC6837E98}"/>
              </c:ext>
            </c:extLst>
          </c:dPt>
          <c:dPt>
            <c:idx val="7"/>
            <c:invertIfNegative val="1"/>
            <c:bubble3D val="0"/>
            <c:extLst>
              <c:ext xmlns:c16="http://schemas.microsoft.com/office/drawing/2014/chart" uri="{C3380CC4-5D6E-409C-BE32-E72D297353CC}">
                <c16:uniqueId val="{00000002-DCEF-4AAE-B747-39856A6177F4}"/>
              </c:ext>
            </c:extLst>
          </c:dPt>
          <c:dPt>
            <c:idx val="8"/>
            <c:invertIfNegative val="1"/>
            <c:bubble3D val="0"/>
            <c:extLst>
              <c:ext xmlns:c16="http://schemas.microsoft.com/office/drawing/2014/chart" uri="{C3380CC4-5D6E-409C-BE32-E72D297353CC}">
                <c16:uniqueId val="{00000011-ECF2-4774-A9B3-59BCC6837E98}"/>
              </c:ext>
            </c:extLst>
          </c:dPt>
          <c:dPt>
            <c:idx val="9"/>
            <c:invertIfNegative val="1"/>
            <c:bubble3D val="0"/>
            <c:extLst>
              <c:ext xmlns:c16="http://schemas.microsoft.com/office/drawing/2014/chart" uri="{C3380CC4-5D6E-409C-BE32-E72D297353CC}">
                <c16:uniqueId val="{00000013-ECF2-4774-A9B3-59BCC6837E98}"/>
              </c:ext>
            </c:extLst>
          </c:dPt>
          <c:dPt>
            <c:idx val="10"/>
            <c:invertIfNegative val="1"/>
            <c:bubble3D val="0"/>
            <c:extLst>
              <c:ext xmlns:c16="http://schemas.microsoft.com/office/drawing/2014/chart" uri="{C3380CC4-5D6E-409C-BE32-E72D297353CC}">
                <c16:uniqueId val="{00000015-ECF2-4774-A9B3-59BCC6837E98}"/>
              </c:ext>
            </c:extLst>
          </c:dPt>
          <c:dPt>
            <c:idx val="11"/>
            <c:invertIfNegative val="1"/>
            <c:bubble3D val="0"/>
            <c:extLst>
              <c:ext xmlns:c16="http://schemas.microsoft.com/office/drawing/2014/chart" uri="{C3380CC4-5D6E-409C-BE32-E72D297353CC}">
                <c16:uniqueId val="{00000017-ECF2-4774-A9B3-59BCC6837E98}"/>
              </c:ext>
            </c:extLst>
          </c:dPt>
          <c:dPt>
            <c:idx val="12"/>
            <c:invertIfNegative val="1"/>
            <c:bubble3D val="0"/>
            <c:extLst>
              <c:ext xmlns:c16="http://schemas.microsoft.com/office/drawing/2014/chart" uri="{C3380CC4-5D6E-409C-BE32-E72D297353CC}">
                <c16:uniqueId val="{00000019-ECF2-4774-A9B3-59BCC6837E98}"/>
              </c:ext>
            </c:extLst>
          </c:dPt>
          <c:dPt>
            <c:idx val="13"/>
            <c:invertIfNegative val="1"/>
            <c:bubble3D val="0"/>
            <c:extLst>
              <c:ext xmlns:c16="http://schemas.microsoft.com/office/drawing/2014/chart" uri="{C3380CC4-5D6E-409C-BE32-E72D297353CC}">
                <c16:uniqueId val="{0000001B-ECF2-4774-A9B3-59BCC6837E98}"/>
              </c:ext>
            </c:extLst>
          </c:dPt>
          <c:dPt>
            <c:idx val="14"/>
            <c:invertIfNegative val="1"/>
            <c:bubble3D val="0"/>
            <c:extLst>
              <c:ext xmlns:c16="http://schemas.microsoft.com/office/drawing/2014/chart" uri="{C3380CC4-5D6E-409C-BE32-E72D297353CC}">
                <c16:uniqueId val="{0000001D-ECF2-4774-A9B3-59BCC6837E98}"/>
              </c:ext>
            </c:extLst>
          </c:dPt>
          <c:dPt>
            <c:idx val="15"/>
            <c:invertIfNegative val="1"/>
            <c:bubble3D val="0"/>
            <c:extLst>
              <c:ext xmlns:c16="http://schemas.microsoft.com/office/drawing/2014/chart" uri="{C3380CC4-5D6E-409C-BE32-E72D297353CC}">
                <c16:uniqueId val="{0000001F-ECF2-4774-A9B3-59BCC6837E98}"/>
              </c:ext>
            </c:extLst>
          </c:dPt>
          <c:dPt>
            <c:idx val="16"/>
            <c:invertIfNegative val="1"/>
            <c:bubble3D val="0"/>
            <c:extLst>
              <c:ext xmlns:c16="http://schemas.microsoft.com/office/drawing/2014/chart" uri="{C3380CC4-5D6E-409C-BE32-E72D297353CC}">
                <c16:uniqueId val="{00000021-ECF2-4774-A9B3-59BCC6837E98}"/>
              </c:ext>
            </c:extLst>
          </c:dPt>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23.1%</a:t>
                    </a:r>
                  </a:p>
                </c:rich>
              </c:tx>
              <c:dLblPos val="ctr"/>
              <c:showLegendKey val="0"/>
              <c:showVal val="1"/>
              <c:showCatName val="0"/>
              <c:showSerName val="0"/>
              <c:showPercent val="0"/>
              <c:showBubbleSize val="0"/>
            </c:dLbl>
            <c:dLbl>
              <c:idx val="2"/>
              <c:tx>
                <c:rich>
                  <a:bodyPr/>
                  <a:lstStyle/>
                  <a:p>
                    <a:pPr>
                      <a:defRPr sz="800">
                        <a:latin typeface="Nexa Book"/>
                      </a:defRPr>
                    </a:pPr>
                    <a:r>
                      <a:t>+18.6%</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0.0</c:v>
                </c:pt>
                <c:pt idx="1">
                  <c:v>0.23059999999999997</c:v>
                </c:pt>
                <c:pt idx="2">
                  <c:v>0.18629999999999997</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53.5 %</a:t>
                    </a:r>
                  </a:p>
                </c:rich>
              </c:tx>
              <c:dLblPos val="ctr"/>
              <c:showLegendKey val="0"/>
              <c:showVal val="1"/>
              <c:showCatName val="0"/>
              <c:showSerName val="0"/>
              <c:showPercent val="0"/>
              <c:showBubbleSize val="0"/>
            </c:dLbl>
            <c:dLbl>
              <c:idx val="2"/>
              <c:tx>
                <c:rich>
                  <a:bodyPr/>
                  <a:lstStyle/>
                  <a:p>
                    <a:pPr>
                      <a:defRPr sz="800">
                        <a:latin typeface="Nexa Book"/>
                      </a:defRPr>
                    </a:pPr>
                    <a:r>
                      <a:t>46.5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1.0</c:v>
                </c:pt>
                <c:pt idx="1">
                  <c:v>0.5354</c:v>
                </c:pt>
                <c:pt idx="2">
                  <c:v>0.464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63.8 %</a:t>
                    </a:r>
                  </a:p>
                </c:rich>
              </c:tx>
              <c:dLblPos val="ctr"/>
              <c:showLegendKey val="0"/>
              <c:showVal val="1"/>
              <c:showCatName val="0"/>
              <c:showSerName val="0"/>
              <c:showPercent val="0"/>
              <c:showBubbleSize val="0"/>
            </c:dLbl>
            <c:dLbl>
              <c:idx val="2"/>
              <c:tx>
                <c:rich>
                  <a:bodyPr/>
                  <a:lstStyle/>
                  <a:p>
                    <a:pPr>
                      <a:defRPr sz="800">
                        <a:latin typeface="Nexa Book"/>
                      </a:defRPr>
                    </a:pPr>
                    <a:r>
                      <a:t>36.2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1.0</c:v>
                </c:pt>
                <c:pt idx="1">
                  <c:v>0.638</c:v>
                </c:pt>
                <c:pt idx="2">
                  <c:v>0.36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55</a:t>
                    </a:r>
                  </a:p>
                </c:rich>
              </c:tx>
              <c:dLblPos val="ctr"/>
              <c:showLegendKey val="0"/>
              <c:showVal val="1"/>
              <c:showCatName val="0"/>
              <c:showSerName val="0"/>
              <c:showPercent val="0"/>
              <c:showBubbleSize val="0"/>
            </c:dLbl>
            <c:dLbl>
              <c:idx val="1"/>
              <c:tx>
                <c:rich>
                  <a:bodyPr/>
                  <a:lstStyle/>
                  <a:p>
                    <a:pPr>
                      <a:defRPr sz="800">
                        <a:latin typeface="Nexa Book"/>
                      </a:defRPr>
                    </a:pPr>
                    <a:r>
                      <a:t>30</a:t>
                    </a:r>
                  </a:p>
                </c:rich>
              </c:tx>
              <c:dLblPos val="ctr"/>
              <c:showLegendKey val="0"/>
              <c:showVal val="1"/>
              <c:showCatName val="0"/>
              <c:showSerName val="0"/>
              <c:showPercent val="0"/>
              <c:showBubbleSize val="0"/>
            </c:dLbl>
            <c:dLbl>
              <c:idx val="2"/>
              <c:tx>
                <c:rich>
                  <a:bodyPr/>
                  <a:lstStyle/>
                  <a:p>
                    <a:pPr>
                      <a:defRPr sz="800">
                        <a:latin typeface="Nexa Book"/>
                      </a:defRPr>
                    </a:pPr>
                    <a:r>
                      <a:t>26</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55397184.0</c:v>
                </c:pt>
                <c:pt idx="1">
                  <c:v>29660078.0</c:v>
                </c:pt>
                <c:pt idx="2">
                  <c:v>25737106.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0.5</a:t>
                    </a:r>
                  </a:p>
                </c:rich>
              </c:tx>
              <c:dLblPos val="ctr"/>
              <c:showLegendKey val="0"/>
              <c:showVal val="1"/>
              <c:showCatName val="0"/>
              <c:showSerName val="0"/>
              <c:showPercent val="0"/>
              <c:showBubbleSize val="0"/>
            </c:dLbl>
            <c:dLbl>
              <c:idx val="1"/>
              <c:tx>
                <c:rich>
                  <a:bodyPr/>
                  <a:lstStyle/>
                  <a:p>
                    <a:pPr>
                      <a:defRPr sz="800">
                        <a:latin typeface="Nexa Book"/>
                      </a:defRPr>
                    </a:pPr>
                    <a:r>
                      <a:t>0.3</a:t>
                    </a:r>
                  </a:p>
                </c:rich>
              </c:tx>
              <c:dLblPos val="ctr"/>
              <c:showLegendKey val="0"/>
              <c:showVal val="1"/>
              <c:showCatName val="0"/>
              <c:showSerName val="0"/>
              <c:showPercent val="0"/>
              <c:showBubbleSize val="0"/>
            </c:dLbl>
            <c:dLbl>
              <c:idx val="2"/>
              <c:tx>
                <c:rich>
                  <a:bodyPr/>
                  <a:lstStyle/>
                  <a:p>
                    <a:pPr>
                      <a:defRPr sz="800">
                        <a:latin typeface="Nexa Book"/>
                      </a:defRPr>
                    </a:pPr>
                    <a:r>
                      <a:t>0.2</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480972.0</c:v>
                </c:pt>
                <c:pt idx="1">
                  <c:v>306866.0</c:v>
                </c:pt>
                <c:pt idx="2">
                  <c:v>174106.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1-2960-4508-BA80-9CD1D30EF006}"/>
              </c:ext>
            </c:extLst>
          </c:dPt>
          <c:dPt>
            <c:idx val="1"/>
            <c:invertIfNegative val="1"/>
            <c:bubble3D val="0"/>
            <c:extLst>
              <c:ext xmlns:c16="http://schemas.microsoft.com/office/drawing/2014/chart" uri="{C3380CC4-5D6E-409C-BE32-E72D297353CC}">
                <c16:uniqueId val="{00000003-A2FA-4046-9F96-F8B0F3C1321B}"/>
              </c:ext>
            </c:extLst>
          </c:dPt>
          <c:dPt>
            <c:idx val="2"/>
            <c:invertIfNegative val="1"/>
            <c:bubble3D val="0"/>
            <c:extLst>
              <c:ext xmlns:c16="http://schemas.microsoft.com/office/drawing/2014/chart" uri="{C3380CC4-5D6E-409C-BE32-E72D297353CC}">
                <c16:uniqueId val="{00000005-A2FA-4046-9F96-F8B0F3C1321B}"/>
              </c:ext>
            </c:extLst>
          </c:dPt>
          <c:dPt>
            <c:idx val="3"/>
            <c:invertIfNegative val="1"/>
            <c:bubble3D val="0"/>
            <c:extLst>
              <c:ext xmlns:c16="http://schemas.microsoft.com/office/drawing/2014/chart" uri="{C3380CC4-5D6E-409C-BE32-E72D297353CC}">
                <c16:uniqueId val="{00000002-2960-4508-BA80-9CD1D30EF006}"/>
              </c:ext>
            </c:extLst>
          </c:dPt>
          <c:dPt>
            <c:idx val="4"/>
            <c:invertIfNegative val="1"/>
            <c:bubble3D val="0"/>
            <c:extLst>
              <c:ext xmlns:c16="http://schemas.microsoft.com/office/drawing/2014/chart" uri="{C3380CC4-5D6E-409C-BE32-E72D297353CC}">
                <c16:uniqueId val="{00000009-A2FA-4046-9F96-F8B0F3C1321B}"/>
              </c:ext>
            </c:extLst>
          </c:dPt>
          <c:dPt>
            <c:idx val="5"/>
            <c:invertIfNegative val="1"/>
            <c:bubble3D val="0"/>
            <c:extLst>
              <c:ext xmlns:c16="http://schemas.microsoft.com/office/drawing/2014/chart" uri="{C3380CC4-5D6E-409C-BE32-E72D297353CC}">
                <c16:uniqueId val="{0000000B-A2FA-4046-9F96-F8B0F3C1321B}"/>
              </c:ext>
            </c:extLst>
          </c:dPt>
          <c:dPt>
            <c:idx val="6"/>
            <c:invertIfNegative val="1"/>
            <c:bubble3D val="0"/>
            <c:extLst>
              <c:ext xmlns:c16="http://schemas.microsoft.com/office/drawing/2014/chart" uri="{C3380CC4-5D6E-409C-BE32-E72D297353CC}">
                <c16:uniqueId val="{0000000D-A2FA-4046-9F96-F8B0F3C1321B}"/>
              </c:ext>
            </c:extLst>
          </c:dPt>
          <c:dPt>
            <c:idx val="7"/>
            <c:invertIfNegative val="1"/>
            <c:bubble3D val="0"/>
            <c:extLst>
              <c:ext xmlns:c16="http://schemas.microsoft.com/office/drawing/2014/chart" uri="{C3380CC4-5D6E-409C-BE32-E72D297353CC}">
                <c16:uniqueId val="{00000000-2960-4508-BA80-9CD1D30EF006}"/>
              </c:ext>
            </c:extLst>
          </c:dPt>
          <c:dPt>
            <c:idx val="8"/>
            <c:invertIfNegative val="1"/>
            <c:bubble3D val="0"/>
            <c:extLst>
              <c:ext xmlns:c16="http://schemas.microsoft.com/office/drawing/2014/chart" uri="{C3380CC4-5D6E-409C-BE32-E72D297353CC}">
                <c16:uniqueId val="{00000011-A2FA-4046-9F96-F8B0F3C1321B}"/>
              </c:ext>
            </c:extLst>
          </c:dPt>
          <c:dPt>
            <c:idx val="9"/>
            <c:invertIfNegative val="1"/>
            <c:bubble3D val="0"/>
            <c:extLst>
              <c:ext xmlns:c16="http://schemas.microsoft.com/office/drawing/2014/chart" uri="{C3380CC4-5D6E-409C-BE32-E72D297353CC}">
                <c16:uniqueId val="{00000013-A2FA-4046-9F96-F8B0F3C1321B}"/>
              </c:ext>
            </c:extLst>
          </c:dPt>
          <c:dPt>
            <c:idx val="10"/>
            <c:invertIfNegative val="1"/>
            <c:bubble3D val="0"/>
            <c:extLst>
              <c:ext xmlns:c16="http://schemas.microsoft.com/office/drawing/2014/chart" uri="{C3380CC4-5D6E-409C-BE32-E72D297353CC}">
                <c16:uniqueId val="{00000015-A2FA-4046-9F96-F8B0F3C1321B}"/>
              </c:ext>
            </c:extLst>
          </c:dPt>
          <c:dPt>
            <c:idx val="11"/>
            <c:invertIfNegative val="1"/>
            <c:bubble3D val="0"/>
            <c:extLst>
              <c:ext xmlns:c16="http://schemas.microsoft.com/office/drawing/2014/chart" uri="{C3380CC4-5D6E-409C-BE32-E72D297353CC}">
                <c16:uniqueId val="{00000017-A2FA-4046-9F96-F8B0F3C1321B}"/>
              </c:ext>
            </c:extLst>
          </c:dPt>
          <c:dPt>
            <c:idx val="12"/>
            <c:invertIfNegative val="1"/>
            <c:bubble3D val="0"/>
            <c:extLst>
              <c:ext xmlns:c16="http://schemas.microsoft.com/office/drawing/2014/chart" uri="{C3380CC4-5D6E-409C-BE32-E72D297353CC}">
                <c16:uniqueId val="{00000019-A2FA-4046-9F96-F8B0F3C1321B}"/>
              </c:ext>
            </c:extLst>
          </c:dPt>
          <c:dPt>
            <c:idx val="13"/>
            <c:invertIfNegative val="1"/>
            <c:bubble3D val="0"/>
            <c:extLst>
              <c:ext xmlns:c16="http://schemas.microsoft.com/office/drawing/2014/chart" uri="{C3380CC4-5D6E-409C-BE32-E72D297353CC}">
                <c16:uniqueId val="{0000001B-A2FA-4046-9F96-F8B0F3C1321B}"/>
              </c:ext>
            </c:extLst>
          </c:dPt>
          <c:dPt>
            <c:idx val="14"/>
            <c:invertIfNegative val="1"/>
            <c:bubble3D val="0"/>
            <c:extLst>
              <c:ext xmlns:c16="http://schemas.microsoft.com/office/drawing/2014/chart" uri="{C3380CC4-5D6E-409C-BE32-E72D297353CC}">
                <c16:uniqueId val="{0000001D-A2FA-4046-9F96-F8B0F3C1321B}"/>
              </c:ext>
            </c:extLst>
          </c:dPt>
          <c:dPt>
            <c:idx val="15"/>
            <c:invertIfNegative val="1"/>
            <c:bubble3D val="0"/>
            <c:extLst>
              <c:ext xmlns:c16="http://schemas.microsoft.com/office/drawing/2014/chart" uri="{C3380CC4-5D6E-409C-BE32-E72D297353CC}">
                <c16:uniqueId val="{0000001F-A2FA-4046-9F96-F8B0F3C1321B}"/>
              </c:ext>
            </c:extLst>
          </c:dPt>
          <c:dPt>
            <c:idx val="16"/>
            <c:invertIfNegative val="1"/>
            <c:bubble3D val="0"/>
            <c:extLst>
              <c:ext xmlns:c16="http://schemas.microsoft.com/office/drawing/2014/chart" uri="{C3380CC4-5D6E-409C-BE32-E72D297353CC}">
                <c16:uniqueId val="{00000021-A2FA-4046-9F96-F8B0F3C1321B}"/>
              </c:ext>
            </c:extLst>
          </c:dPt>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24.1%</a:t>
                    </a:r>
                  </a:p>
                </c:rich>
              </c:tx>
              <c:dLblPos val="ctr"/>
              <c:showLegendKey val="0"/>
              <c:showVal val="1"/>
              <c:showCatName val="0"/>
              <c:showSerName val="0"/>
              <c:showPercent val="0"/>
              <c:showBubbleSize val="0"/>
            </c:dLbl>
            <c:dLbl>
              <c:idx val="2"/>
              <c:tx>
                <c:rich>
                  <a:bodyPr/>
                  <a:lstStyle/>
                  <a:p>
                    <a:pPr>
                      <a:defRPr sz="800">
                        <a:latin typeface="Nexa Book"/>
                      </a:defRPr>
                    </a:pPr>
                    <a:r>
                      <a:t>+20.9%</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0.0</c:v>
                </c:pt>
                <c:pt idx="1">
                  <c:v>0.24109999999999998</c:v>
                </c:pt>
                <c:pt idx="2">
                  <c:v>0.20850000000000002</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6</c:f>
              <c:numCache>
                <c:formatCode>General</c:formatCode>
                <c:ptCount val="5"/>
                <c:pt idx="0">
                  <c:v>0.01195602998100509</c:v>
                </c:pt>
                <c:pt idx="1">
                  <c:v>-0.013427713175870631</c:v>
                </c:pt>
                <c:pt idx="2">
                  <c:v>0.0031307649391293865</c:v>
                </c:pt>
                <c:pt idx="3">
                  <c:v>-0.005166095118313441</c:v>
                </c:pt>
                <c:pt idx="4">
                  <c:v>0.003507013374049551</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0-DCEF-4AAE-B747-39856A6177F4}"/>
              </c:ext>
            </c:extLst>
          </c:dPt>
          <c:dPt>
            <c:idx val="1"/>
            <c:invertIfNegative val="1"/>
            <c:bubble3D val="0"/>
            <c:extLst>
              <c:ext xmlns:c16="http://schemas.microsoft.com/office/drawing/2014/chart" uri="{C3380CC4-5D6E-409C-BE32-E72D297353CC}">
                <c16:uniqueId val="{00000003-ECF2-4774-A9B3-59BCC6837E98}"/>
              </c:ext>
            </c:extLst>
          </c:dPt>
          <c:dPt>
            <c:idx val="2"/>
            <c:invertIfNegative val="1"/>
            <c:bubble3D val="0"/>
            <c:extLst>
              <c:ext xmlns:c16="http://schemas.microsoft.com/office/drawing/2014/chart" uri="{C3380CC4-5D6E-409C-BE32-E72D297353CC}">
                <c16:uniqueId val="{00000005-ECF2-4774-A9B3-59BCC6837E98}"/>
              </c:ext>
            </c:extLst>
          </c:dPt>
          <c:dPt>
            <c:idx val="3"/>
            <c:invertIfNegative val="1"/>
            <c:bubble3D val="0"/>
            <c:extLst>
              <c:ext xmlns:c16="http://schemas.microsoft.com/office/drawing/2014/chart" uri="{C3380CC4-5D6E-409C-BE32-E72D297353CC}">
                <c16:uniqueId val="{00000001-DCEF-4AAE-B747-39856A6177F4}"/>
              </c:ext>
            </c:extLst>
          </c:dPt>
          <c:dPt>
            <c:idx val="4"/>
            <c:invertIfNegative val="1"/>
            <c:bubble3D val="0"/>
            <c:extLst>
              <c:ext xmlns:c16="http://schemas.microsoft.com/office/drawing/2014/chart" uri="{C3380CC4-5D6E-409C-BE32-E72D297353CC}">
                <c16:uniqueId val="{00000009-ECF2-4774-A9B3-59BCC6837E98}"/>
              </c:ext>
            </c:extLst>
          </c:dPt>
          <c:dPt>
            <c:idx val="5"/>
            <c:invertIfNegative val="1"/>
            <c:bubble3D val="0"/>
            <c:extLst>
              <c:ext xmlns:c16="http://schemas.microsoft.com/office/drawing/2014/chart" uri="{C3380CC4-5D6E-409C-BE32-E72D297353CC}">
                <c16:uniqueId val="{0000000B-ECF2-4774-A9B3-59BCC6837E98}"/>
              </c:ext>
            </c:extLst>
          </c:dPt>
          <c:dPt>
            <c:idx val="6"/>
            <c:invertIfNegative val="1"/>
            <c:bubble3D val="0"/>
            <c:extLst>
              <c:ext xmlns:c16="http://schemas.microsoft.com/office/drawing/2014/chart" uri="{C3380CC4-5D6E-409C-BE32-E72D297353CC}">
                <c16:uniqueId val="{0000000D-ECF2-4774-A9B3-59BCC6837E98}"/>
              </c:ext>
            </c:extLst>
          </c:dPt>
          <c:dPt>
            <c:idx val="7"/>
            <c:invertIfNegative val="1"/>
            <c:bubble3D val="0"/>
            <c:extLst>
              <c:ext xmlns:c16="http://schemas.microsoft.com/office/drawing/2014/chart" uri="{C3380CC4-5D6E-409C-BE32-E72D297353CC}">
                <c16:uniqueId val="{00000002-DCEF-4AAE-B747-39856A6177F4}"/>
              </c:ext>
            </c:extLst>
          </c:dPt>
          <c:dPt>
            <c:idx val="8"/>
            <c:invertIfNegative val="1"/>
            <c:bubble3D val="0"/>
            <c:extLst>
              <c:ext xmlns:c16="http://schemas.microsoft.com/office/drawing/2014/chart" uri="{C3380CC4-5D6E-409C-BE32-E72D297353CC}">
                <c16:uniqueId val="{00000011-ECF2-4774-A9B3-59BCC6837E98}"/>
              </c:ext>
            </c:extLst>
          </c:dPt>
          <c:dPt>
            <c:idx val="9"/>
            <c:invertIfNegative val="1"/>
            <c:bubble3D val="0"/>
            <c:extLst>
              <c:ext xmlns:c16="http://schemas.microsoft.com/office/drawing/2014/chart" uri="{C3380CC4-5D6E-409C-BE32-E72D297353CC}">
                <c16:uniqueId val="{00000013-ECF2-4774-A9B3-59BCC6837E98}"/>
              </c:ext>
            </c:extLst>
          </c:dPt>
          <c:dPt>
            <c:idx val="10"/>
            <c:invertIfNegative val="1"/>
            <c:bubble3D val="0"/>
            <c:extLst>
              <c:ext xmlns:c16="http://schemas.microsoft.com/office/drawing/2014/chart" uri="{C3380CC4-5D6E-409C-BE32-E72D297353CC}">
                <c16:uniqueId val="{00000015-ECF2-4774-A9B3-59BCC6837E98}"/>
              </c:ext>
            </c:extLst>
          </c:dPt>
          <c:dPt>
            <c:idx val="11"/>
            <c:invertIfNegative val="1"/>
            <c:bubble3D val="0"/>
            <c:extLst>
              <c:ext xmlns:c16="http://schemas.microsoft.com/office/drawing/2014/chart" uri="{C3380CC4-5D6E-409C-BE32-E72D297353CC}">
                <c16:uniqueId val="{00000017-ECF2-4774-A9B3-59BCC6837E98}"/>
              </c:ext>
            </c:extLst>
          </c:dPt>
          <c:dPt>
            <c:idx val="12"/>
            <c:invertIfNegative val="1"/>
            <c:bubble3D val="0"/>
            <c:extLst>
              <c:ext xmlns:c16="http://schemas.microsoft.com/office/drawing/2014/chart" uri="{C3380CC4-5D6E-409C-BE32-E72D297353CC}">
                <c16:uniqueId val="{00000019-ECF2-4774-A9B3-59BCC6837E98}"/>
              </c:ext>
            </c:extLst>
          </c:dPt>
          <c:dPt>
            <c:idx val="13"/>
            <c:invertIfNegative val="1"/>
            <c:bubble3D val="0"/>
            <c:extLst>
              <c:ext xmlns:c16="http://schemas.microsoft.com/office/drawing/2014/chart" uri="{C3380CC4-5D6E-409C-BE32-E72D297353CC}">
                <c16:uniqueId val="{0000001B-ECF2-4774-A9B3-59BCC6837E98}"/>
              </c:ext>
            </c:extLst>
          </c:dPt>
          <c:dPt>
            <c:idx val="14"/>
            <c:invertIfNegative val="1"/>
            <c:bubble3D val="0"/>
            <c:extLst>
              <c:ext xmlns:c16="http://schemas.microsoft.com/office/drawing/2014/chart" uri="{C3380CC4-5D6E-409C-BE32-E72D297353CC}">
                <c16:uniqueId val="{0000001D-ECF2-4774-A9B3-59BCC6837E98}"/>
              </c:ext>
            </c:extLst>
          </c:dPt>
          <c:dPt>
            <c:idx val="15"/>
            <c:invertIfNegative val="1"/>
            <c:bubble3D val="0"/>
            <c:extLst>
              <c:ext xmlns:c16="http://schemas.microsoft.com/office/drawing/2014/chart" uri="{C3380CC4-5D6E-409C-BE32-E72D297353CC}">
                <c16:uniqueId val="{0000001F-ECF2-4774-A9B3-59BCC6837E98}"/>
              </c:ext>
            </c:extLst>
          </c:dPt>
          <c:dPt>
            <c:idx val="16"/>
            <c:invertIfNegative val="1"/>
            <c:bubble3D val="0"/>
            <c:extLst>
              <c:ext xmlns:c16="http://schemas.microsoft.com/office/drawing/2014/chart" uri="{C3380CC4-5D6E-409C-BE32-E72D297353CC}">
                <c16:uniqueId val="{00000021-ECF2-4774-A9B3-59BCC6837E98}"/>
              </c:ext>
            </c:extLst>
          </c:dPt>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20.2%</a:t>
                    </a:r>
                  </a:p>
                </c:rich>
              </c:tx>
              <c:dLblPos val="ctr"/>
              <c:showLegendKey val="0"/>
              <c:showVal val="1"/>
              <c:showCatName val="0"/>
              <c:showSerName val="0"/>
              <c:showPercent val="0"/>
              <c:showBubbleSize val="0"/>
            </c:dLbl>
            <c:dLbl>
              <c:idx val="2"/>
              <c:tx>
                <c:rich>
                  <a:bodyPr/>
                  <a:lstStyle/>
                  <a:p>
                    <a:pPr>
                      <a:defRPr sz="800">
                        <a:latin typeface="Nexa Book"/>
                      </a:defRPr>
                    </a:pPr>
                    <a:r>
                      <a:t>+10.7%</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0.0</c:v>
                </c:pt>
                <c:pt idx="1">
                  <c:v>0.20240000000000002</c:v>
                </c:pt>
                <c:pt idx="2">
                  <c:v>0.10669999999999996</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53.5 %</a:t>
                    </a:r>
                  </a:p>
                </c:rich>
              </c:tx>
              <c:dLblPos val="ctr"/>
              <c:showLegendKey val="0"/>
              <c:showVal val="1"/>
              <c:showCatName val="0"/>
              <c:showSerName val="0"/>
              <c:showPercent val="0"/>
              <c:showBubbleSize val="0"/>
            </c:dLbl>
            <c:dLbl>
              <c:idx val="2"/>
              <c:tx>
                <c:rich>
                  <a:bodyPr/>
                  <a:lstStyle/>
                  <a:p>
                    <a:pPr>
                      <a:defRPr sz="800">
                        <a:latin typeface="Nexa Book"/>
                      </a:defRPr>
                    </a:pPr>
                    <a:r>
                      <a:t>46.5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1.0</c:v>
                </c:pt>
                <c:pt idx="1">
                  <c:v>0.5354</c:v>
                </c:pt>
                <c:pt idx="2">
                  <c:v>0.464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100.0 %</a:t>
                    </a:r>
                  </a:p>
                </c:rich>
              </c:tx>
              <c:dLblPos val="ctr"/>
              <c:showLegendKey val="0"/>
              <c:showVal val="1"/>
              <c:showCatName val="0"/>
              <c:showSerName val="0"/>
              <c:showPercent val="0"/>
              <c:showBubbleSize val="0"/>
            </c:dLbl>
            <c:dLbl>
              <c:idx val="2"/>
              <c:tx>
                <c:rich>
                  <a:bodyPr/>
                  <a:lstStyle/>
                  <a:p>
                    <a:pPr>
                      <a:defRPr sz="800">
                        <a:latin typeface="Nexa Book"/>
                      </a:defRPr>
                    </a:pP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1.0</c:v>
                </c:pt>
                <c:pt idx="1">
                  <c:v>1.0</c:v>
                </c:pt>
                <c:pt idx="2">
                  <c:v>0.0</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55</a:t>
                    </a:r>
                  </a:p>
                </c:rich>
              </c:tx>
              <c:dLblPos val="ctr"/>
              <c:showLegendKey val="0"/>
              <c:showVal val="1"/>
              <c:showCatName val="0"/>
              <c:showSerName val="0"/>
              <c:showPercent val="0"/>
              <c:showBubbleSize val="0"/>
            </c:dLbl>
            <c:dLbl>
              <c:idx val="1"/>
              <c:tx>
                <c:rich>
                  <a:bodyPr/>
                  <a:lstStyle/>
                  <a:p>
                    <a:pPr>
                      <a:defRPr sz="800">
                        <a:latin typeface="Nexa Book"/>
                      </a:defRPr>
                    </a:pPr>
                    <a:r>
                      <a:t>30</a:t>
                    </a:r>
                  </a:p>
                </c:rich>
              </c:tx>
              <c:dLblPos val="ctr"/>
              <c:showLegendKey val="0"/>
              <c:showVal val="1"/>
              <c:showCatName val="0"/>
              <c:showSerName val="0"/>
              <c:showPercent val="0"/>
              <c:showBubbleSize val="0"/>
            </c:dLbl>
            <c:dLbl>
              <c:idx val="2"/>
              <c:tx>
                <c:rich>
                  <a:bodyPr/>
                  <a:lstStyle/>
                  <a:p>
                    <a:pPr>
                      <a:defRPr sz="800">
                        <a:latin typeface="Nexa Book"/>
                      </a:defRPr>
                    </a:pPr>
                    <a:r>
                      <a:t>26</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55397184.0</c:v>
                </c:pt>
                <c:pt idx="1">
                  <c:v>29660078.0</c:v>
                </c:pt>
                <c:pt idx="2">
                  <c:v>25737106.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0.0</a:t>
                    </a:r>
                  </a:p>
                </c:rich>
              </c:tx>
              <c:dLblPos val="ctr"/>
              <c:showLegendKey val="0"/>
              <c:showVal val="1"/>
              <c:showCatName val="0"/>
              <c:showSerName val="0"/>
              <c:showPercent val="0"/>
              <c:showBubbleSize val="0"/>
            </c:dLbl>
            <c:dLbl>
              <c:idx val="1"/>
              <c:tx>
                <c:rich>
                  <a:bodyPr/>
                  <a:lstStyle/>
                  <a:p>
                    <a:pPr>
                      <a:defRPr sz="800">
                        <a:latin typeface="Nexa Book"/>
                      </a:defRPr>
                    </a:pPr>
                    <a:r>
                      <a:t>0.0</a:t>
                    </a:r>
                  </a:p>
                </c:rich>
              </c:tx>
              <c:dLblPos val="ctr"/>
              <c:showLegendKey val="0"/>
              <c:showVal val="1"/>
              <c:showCatName val="0"/>
              <c:showSerName val="0"/>
              <c:showPercent val="0"/>
              <c:showBubbleSize val="0"/>
            </c:dLbl>
            <c:dLbl>
              <c:idx val="2"/>
              <c:tx>
                <c:rich>
                  <a:bodyPr/>
                  <a:lstStyle/>
                  <a:p>
                    <a:pPr>
                      <a:defRPr sz="800">
                        <a:latin typeface="Nexa Book"/>
                      </a:defRPr>
                    </a:pP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26.0</c:v>
                </c:pt>
                <c:pt idx="1">
                  <c:v>26.0</c:v>
                </c:pt>
                <c:pt idx="2">
                  <c:v>0.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1-2960-4508-BA80-9CD1D30EF006}"/>
              </c:ext>
            </c:extLst>
          </c:dPt>
          <c:dPt>
            <c:idx val="1"/>
            <c:invertIfNegative val="1"/>
            <c:bubble3D val="0"/>
            <c:extLst>
              <c:ext xmlns:c16="http://schemas.microsoft.com/office/drawing/2014/chart" uri="{C3380CC4-5D6E-409C-BE32-E72D297353CC}">
                <c16:uniqueId val="{00000003-A2FA-4046-9F96-F8B0F3C1321B}"/>
              </c:ext>
            </c:extLst>
          </c:dPt>
          <c:dPt>
            <c:idx val="2"/>
            <c:invertIfNegative val="1"/>
            <c:bubble3D val="0"/>
            <c:extLst>
              <c:ext xmlns:c16="http://schemas.microsoft.com/office/drawing/2014/chart" uri="{C3380CC4-5D6E-409C-BE32-E72D297353CC}">
                <c16:uniqueId val="{00000005-A2FA-4046-9F96-F8B0F3C1321B}"/>
              </c:ext>
            </c:extLst>
          </c:dPt>
          <c:dPt>
            <c:idx val="3"/>
            <c:invertIfNegative val="1"/>
            <c:bubble3D val="0"/>
            <c:extLst>
              <c:ext xmlns:c16="http://schemas.microsoft.com/office/drawing/2014/chart" uri="{C3380CC4-5D6E-409C-BE32-E72D297353CC}">
                <c16:uniqueId val="{00000002-2960-4508-BA80-9CD1D30EF006}"/>
              </c:ext>
            </c:extLst>
          </c:dPt>
          <c:dPt>
            <c:idx val="4"/>
            <c:invertIfNegative val="1"/>
            <c:bubble3D val="0"/>
            <c:extLst>
              <c:ext xmlns:c16="http://schemas.microsoft.com/office/drawing/2014/chart" uri="{C3380CC4-5D6E-409C-BE32-E72D297353CC}">
                <c16:uniqueId val="{00000009-A2FA-4046-9F96-F8B0F3C1321B}"/>
              </c:ext>
            </c:extLst>
          </c:dPt>
          <c:dPt>
            <c:idx val="5"/>
            <c:invertIfNegative val="1"/>
            <c:bubble3D val="0"/>
            <c:extLst>
              <c:ext xmlns:c16="http://schemas.microsoft.com/office/drawing/2014/chart" uri="{C3380CC4-5D6E-409C-BE32-E72D297353CC}">
                <c16:uniqueId val="{0000000B-A2FA-4046-9F96-F8B0F3C1321B}"/>
              </c:ext>
            </c:extLst>
          </c:dPt>
          <c:dPt>
            <c:idx val="6"/>
            <c:invertIfNegative val="1"/>
            <c:bubble3D val="0"/>
            <c:extLst>
              <c:ext xmlns:c16="http://schemas.microsoft.com/office/drawing/2014/chart" uri="{C3380CC4-5D6E-409C-BE32-E72D297353CC}">
                <c16:uniqueId val="{0000000D-A2FA-4046-9F96-F8B0F3C1321B}"/>
              </c:ext>
            </c:extLst>
          </c:dPt>
          <c:dPt>
            <c:idx val="7"/>
            <c:invertIfNegative val="1"/>
            <c:bubble3D val="0"/>
            <c:extLst>
              <c:ext xmlns:c16="http://schemas.microsoft.com/office/drawing/2014/chart" uri="{C3380CC4-5D6E-409C-BE32-E72D297353CC}">
                <c16:uniqueId val="{00000000-2960-4508-BA80-9CD1D30EF006}"/>
              </c:ext>
            </c:extLst>
          </c:dPt>
          <c:dPt>
            <c:idx val="8"/>
            <c:invertIfNegative val="1"/>
            <c:bubble3D val="0"/>
            <c:extLst>
              <c:ext xmlns:c16="http://schemas.microsoft.com/office/drawing/2014/chart" uri="{C3380CC4-5D6E-409C-BE32-E72D297353CC}">
                <c16:uniqueId val="{00000011-A2FA-4046-9F96-F8B0F3C1321B}"/>
              </c:ext>
            </c:extLst>
          </c:dPt>
          <c:dPt>
            <c:idx val="9"/>
            <c:invertIfNegative val="1"/>
            <c:bubble3D val="0"/>
            <c:extLst>
              <c:ext xmlns:c16="http://schemas.microsoft.com/office/drawing/2014/chart" uri="{C3380CC4-5D6E-409C-BE32-E72D297353CC}">
                <c16:uniqueId val="{00000013-A2FA-4046-9F96-F8B0F3C1321B}"/>
              </c:ext>
            </c:extLst>
          </c:dPt>
          <c:dPt>
            <c:idx val="10"/>
            <c:invertIfNegative val="1"/>
            <c:bubble3D val="0"/>
            <c:extLst>
              <c:ext xmlns:c16="http://schemas.microsoft.com/office/drawing/2014/chart" uri="{C3380CC4-5D6E-409C-BE32-E72D297353CC}">
                <c16:uniqueId val="{00000015-A2FA-4046-9F96-F8B0F3C1321B}"/>
              </c:ext>
            </c:extLst>
          </c:dPt>
          <c:dPt>
            <c:idx val="11"/>
            <c:invertIfNegative val="1"/>
            <c:bubble3D val="0"/>
            <c:extLst>
              <c:ext xmlns:c16="http://schemas.microsoft.com/office/drawing/2014/chart" uri="{C3380CC4-5D6E-409C-BE32-E72D297353CC}">
                <c16:uniqueId val="{00000017-A2FA-4046-9F96-F8B0F3C1321B}"/>
              </c:ext>
            </c:extLst>
          </c:dPt>
          <c:dPt>
            <c:idx val="12"/>
            <c:invertIfNegative val="1"/>
            <c:bubble3D val="0"/>
            <c:extLst>
              <c:ext xmlns:c16="http://schemas.microsoft.com/office/drawing/2014/chart" uri="{C3380CC4-5D6E-409C-BE32-E72D297353CC}">
                <c16:uniqueId val="{00000019-A2FA-4046-9F96-F8B0F3C1321B}"/>
              </c:ext>
            </c:extLst>
          </c:dPt>
          <c:dPt>
            <c:idx val="13"/>
            <c:invertIfNegative val="1"/>
            <c:bubble3D val="0"/>
            <c:extLst>
              <c:ext xmlns:c16="http://schemas.microsoft.com/office/drawing/2014/chart" uri="{C3380CC4-5D6E-409C-BE32-E72D297353CC}">
                <c16:uniqueId val="{0000001B-A2FA-4046-9F96-F8B0F3C1321B}"/>
              </c:ext>
            </c:extLst>
          </c:dPt>
          <c:dPt>
            <c:idx val="14"/>
            <c:invertIfNegative val="1"/>
            <c:bubble3D val="0"/>
            <c:extLst>
              <c:ext xmlns:c16="http://schemas.microsoft.com/office/drawing/2014/chart" uri="{C3380CC4-5D6E-409C-BE32-E72D297353CC}">
                <c16:uniqueId val="{0000001D-A2FA-4046-9F96-F8B0F3C1321B}"/>
              </c:ext>
            </c:extLst>
          </c:dPt>
          <c:dPt>
            <c:idx val="15"/>
            <c:invertIfNegative val="1"/>
            <c:bubble3D val="0"/>
            <c:extLst>
              <c:ext xmlns:c16="http://schemas.microsoft.com/office/drawing/2014/chart" uri="{C3380CC4-5D6E-409C-BE32-E72D297353CC}">
                <c16:uniqueId val="{0000001F-A2FA-4046-9F96-F8B0F3C1321B}"/>
              </c:ext>
            </c:extLst>
          </c:dPt>
          <c:dPt>
            <c:idx val="16"/>
            <c:invertIfNegative val="1"/>
            <c:bubble3D val="0"/>
            <c:extLst>
              <c:ext xmlns:c16="http://schemas.microsoft.com/office/drawing/2014/chart" uri="{C3380CC4-5D6E-409C-BE32-E72D297353CC}">
                <c16:uniqueId val="{00000021-A2FA-4046-9F96-F8B0F3C1321B}"/>
              </c:ext>
            </c:extLst>
          </c:dPt>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24.1%</a:t>
                    </a:r>
                  </a:p>
                </c:rich>
              </c:tx>
              <c:dLblPos val="ctr"/>
              <c:showLegendKey val="0"/>
              <c:showVal val="1"/>
              <c:showCatName val="0"/>
              <c:showSerName val="0"/>
              <c:showPercent val="0"/>
              <c:showBubbleSize val="0"/>
            </c:dLbl>
            <c:dLbl>
              <c:idx val="2"/>
              <c:tx>
                <c:rich>
                  <a:bodyPr/>
                  <a:lstStyle/>
                  <a:p>
                    <a:pPr>
                      <a:defRPr sz="800">
                        <a:latin typeface="Nexa Book"/>
                      </a:defRPr>
                    </a:pPr>
                    <a:r>
                      <a:t>+20.9%</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0.0</c:v>
                </c:pt>
                <c:pt idx="1">
                  <c:v>0.24109999999999998</c:v>
                </c:pt>
                <c:pt idx="2">
                  <c:v>0.20850000000000002</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0-DCEF-4AAE-B747-39856A6177F4}"/>
              </c:ext>
            </c:extLst>
          </c:dPt>
          <c:dPt>
            <c:idx val="1"/>
            <c:invertIfNegative val="1"/>
            <c:bubble3D val="0"/>
            <c:extLst>
              <c:ext xmlns:c16="http://schemas.microsoft.com/office/drawing/2014/chart" uri="{C3380CC4-5D6E-409C-BE32-E72D297353CC}">
                <c16:uniqueId val="{00000003-ECF2-4774-A9B3-59BCC6837E98}"/>
              </c:ext>
            </c:extLst>
          </c:dPt>
          <c:dPt>
            <c:idx val="2"/>
            <c:invertIfNegative val="1"/>
            <c:bubble3D val="0"/>
            <c:extLst>
              <c:ext xmlns:c16="http://schemas.microsoft.com/office/drawing/2014/chart" uri="{C3380CC4-5D6E-409C-BE32-E72D297353CC}">
                <c16:uniqueId val="{00000005-ECF2-4774-A9B3-59BCC6837E98}"/>
              </c:ext>
            </c:extLst>
          </c:dPt>
          <c:dPt>
            <c:idx val="3"/>
            <c:invertIfNegative val="1"/>
            <c:bubble3D val="0"/>
            <c:extLst>
              <c:ext xmlns:c16="http://schemas.microsoft.com/office/drawing/2014/chart" uri="{C3380CC4-5D6E-409C-BE32-E72D297353CC}">
                <c16:uniqueId val="{00000001-DCEF-4AAE-B747-39856A6177F4}"/>
              </c:ext>
            </c:extLst>
          </c:dPt>
          <c:dPt>
            <c:idx val="4"/>
            <c:invertIfNegative val="1"/>
            <c:bubble3D val="0"/>
            <c:extLst>
              <c:ext xmlns:c16="http://schemas.microsoft.com/office/drawing/2014/chart" uri="{C3380CC4-5D6E-409C-BE32-E72D297353CC}">
                <c16:uniqueId val="{00000009-ECF2-4774-A9B3-59BCC6837E98}"/>
              </c:ext>
            </c:extLst>
          </c:dPt>
          <c:dPt>
            <c:idx val="5"/>
            <c:invertIfNegative val="1"/>
            <c:bubble3D val="0"/>
            <c:extLst>
              <c:ext xmlns:c16="http://schemas.microsoft.com/office/drawing/2014/chart" uri="{C3380CC4-5D6E-409C-BE32-E72D297353CC}">
                <c16:uniqueId val="{0000000B-ECF2-4774-A9B3-59BCC6837E98}"/>
              </c:ext>
            </c:extLst>
          </c:dPt>
          <c:dPt>
            <c:idx val="6"/>
            <c:invertIfNegative val="1"/>
            <c:bubble3D val="0"/>
            <c:extLst>
              <c:ext xmlns:c16="http://schemas.microsoft.com/office/drawing/2014/chart" uri="{C3380CC4-5D6E-409C-BE32-E72D297353CC}">
                <c16:uniqueId val="{0000000D-ECF2-4774-A9B3-59BCC6837E98}"/>
              </c:ext>
            </c:extLst>
          </c:dPt>
          <c:dPt>
            <c:idx val="7"/>
            <c:invertIfNegative val="1"/>
            <c:bubble3D val="0"/>
            <c:extLst>
              <c:ext xmlns:c16="http://schemas.microsoft.com/office/drawing/2014/chart" uri="{C3380CC4-5D6E-409C-BE32-E72D297353CC}">
                <c16:uniqueId val="{00000002-DCEF-4AAE-B747-39856A6177F4}"/>
              </c:ext>
            </c:extLst>
          </c:dPt>
          <c:dPt>
            <c:idx val="8"/>
            <c:invertIfNegative val="1"/>
            <c:bubble3D val="0"/>
            <c:extLst>
              <c:ext xmlns:c16="http://schemas.microsoft.com/office/drawing/2014/chart" uri="{C3380CC4-5D6E-409C-BE32-E72D297353CC}">
                <c16:uniqueId val="{00000011-ECF2-4774-A9B3-59BCC6837E98}"/>
              </c:ext>
            </c:extLst>
          </c:dPt>
          <c:dPt>
            <c:idx val="9"/>
            <c:invertIfNegative val="1"/>
            <c:bubble3D val="0"/>
            <c:extLst>
              <c:ext xmlns:c16="http://schemas.microsoft.com/office/drawing/2014/chart" uri="{C3380CC4-5D6E-409C-BE32-E72D297353CC}">
                <c16:uniqueId val="{00000013-ECF2-4774-A9B3-59BCC6837E98}"/>
              </c:ext>
            </c:extLst>
          </c:dPt>
          <c:dPt>
            <c:idx val="10"/>
            <c:invertIfNegative val="1"/>
            <c:bubble3D val="0"/>
            <c:extLst>
              <c:ext xmlns:c16="http://schemas.microsoft.com/office/drawing/2014/chart" uri="{C3380CC4-5D6E-409C-BE32-E72D297353CC}">
                <c16:uniqueId val="{00000015-ECF2-4774-A9B3-59BCC6837E98}"/>
              </c:ext>
            </c:extLst>
          </c:dPt>
          <c:dPt>
            <c:idx val="11"/>
            <c:invertIfNegative val="1"/>
            <c:bubble3D val="0"/>
            <c:extLst>
              <c:ext xmlns:c16="http://schemas.microsoft.com/office/drawing/2014/chart" uri="{C3380CC4-5D6E-409C-BE32-E72D297353CC}">
                <c16:uniqueId val="{00000017-ECF2-4774-A9B3-59BCC6837E98}"/>
              </c:ext>
            </c:extLst>
          </c:dPt>
          <c:dPt>
            <c:idx val="12"/>
            <c:invertIfNegative val="1"/>
            <c:bubble3D val="0"/>
            <c:extLst>
              <c:ext xmlns:c16="http://schemas.microsoft.com/office/drawing/2014/chart" uri="{C3380CC4-5D6E-409C-BE32-E72D297353CC}">
                <c16:uniqueId val="{00000019-ECF2-4774-A9B3-59BCC6837E98}"/>
              </c:ext>
            </c:extLst>
          </c:dPt>
          <c:dPt>
            <c:idx val="13"/>
            <c:invertIfNegative val="1"/>
            <c:bubble3D val="0"/>
            <c:extLst>
              <c:ext xmlns:c16="http://schemas.microsoft.com/office/drawing/2014/chart" uri="{C3380CC4-5D6E-409C-BE32-E72D297353CC}">
                <c16:uniqueId val="{0000001B-ECF2-4774-A9B3-59BCC6837E98}"/>
              </c:ext>
            </c:extLst>
          </c:dPt>
          <c:dPt>
            <c:idx val="14"/>
            <c:invertIfNegative val="1"/>
            <c:bubble3D val="0"/>
            <c:extLst>
              <c:ext xmlns:c16="http://schemas.microsoft.com/office/drawing/2014/chart" uri="{C3380CC4-5D6E-409C-BE32-E72D297353CC}">
                <c16:uniqueId val="{0000001D-ECF2-4774-A9B3-59BCC6837E98}"/>
              </c:ext>
            </c:extLst>
          </c:dPt>
          <c:dPt>
            <c:idx val="15"/>
            <c:invertIfNegative val="1"/>
            <c:bubble3D val="0"/>
            <c:extLst>
              <c:ext xmlns:c16="http://schemas.microsoft.com/office/drawing/2014/chart" uri="{C3380CC4-5D6E-409C-BE32-E72D297353CC}">
                <c16:uniqueId val="{0000001F-ECF2-4774-A9B3-59BCC6837E98}"/>
              </c:ext>
            </c:extLst>
          </c:dPt>
          <c:dPt>
            <c:idx val="16"/>
            <c:invertIfNegative val="1"/>
            <c:bubble3D val="0"/>
            <c:extLst>
              <c:ext xmlns:c16="http://schemas.microsoft.com/office/drawing/2014/chart" uri="{C3380CC4-5D6E-409C-BE32-E72D297353CC}">
                <c16:uniqueId val="{00000021-ECF2-4774-A9B3-59BCC6837E98}"/>
              </c:ext>
            </c:extLst>
          </c:dPt>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p>
                </c:rich>
              </c:tx>
              <c:dLblPos val="ctr"/>
              <c:showLegendKey val="0"/>
              <c:showVal val="1"/>
              <c:showCatName val="0"/>
              <c:showSerName val="0"/>
              <c:showPercent val="0"/>
              <c:showBubbleSize val="0"/>
            </c:dLbl>
            <c:dLbl>
              <c:idx val="2"/>
              <c:tx>
                <c:rich>
                  <a:bodyPr/>
                  <a:lstStyle/>
                  <a:p>
                    <a:pPr>
                      <a:defRPr sz="800">
                        <a:latin typeface="Nexa Book"/>
                      </a:defRPr>
                    </a:pP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0.0</c:v>
                </c:pt>
                <c:pt idx="1">
                  <c:v>0.0</c:v>
                </c:pt>
                <c:pt idx="2">
                  <c:v>0.0</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53.5 %</a:t>
                    </a:r>
                  </a:p>
                </c:rich>
              </c:tx>
              <c:dLblPos val="ctr"/>
              <c:showLegendKey val="0"/>
              <c:showVal val="1"/>
              <c:showCatName val="0"/>
              <c:showSerName val="0"/>
              <c:showPercent val="0"/>
              <c:showBubbleSize val="0"/>
            </c:dLbl>
            <c:dLbl>
              <c:idx val="2"/>
              <c:tx>
                <c:rich>
                  <a:bodyPr/>
                  <a:lstStyle/>
                  <a:p>
                    <a:pPr>
                      <a:defRPr sz="800">
                        <a:latin typeface="Nexa Book"/>
                      </a:defRPr>
                    </a:pPr>
                    <a:r>
                      <a:t>46.5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1.0</c:v>
                </c:pt>
                <c:pt idx="1">
                  <c:v>0.5354</c:v>
                </c:pt>
                <c:pt idx="2">
                  <c:v>0.464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46.7 %</a:t>
                    </a:r>
                  </a:p>
                </c:rich>
              </c:tx>
              <c:dLblPos val="ctr"/>
              <c:showLegendKey val="0"/>
              <c:showVal val="1"/>
              <c:showCatName val="0"/>
              <c:showSerName val="0"/>
              <c:showPercent val="0"/>
              <c:showBubbleSize val="0"/>
            </c:dLbl>
            <c:dLbl>
              <c:idx val="2"/>
              <c:tx>
                <c:rich>
                  <a:bodyPr/>
                  <a:lstStyle/>
                  <a:p>
                    <a:pPr>
                      <a:defRPr sz="800">
                        <a:latin typeface="Nexa Book"/>
                      </a:defRPr>
                    </a:pPr>
                    <a:r>
                      <a:t>53.3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1.0</c:v>
                </c:pt>
                <c:pt idx="1">
                  <c:v>0.4667</c:v>
                </c:pt>
                <c:pt idx="2">
                  <c:v>0.533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55</a:t>
                    </a:r>
                  </a:p>
                </c:rich>
              </c:tx>
              <c:dLblPos val="ctr"/>
              <c:showLegendKey val="0"/>
              <c:showVal val="1"/>
              <c:showCatName val="0"/>
              <c:showSerName val="0"/>
              <c:showPercent val="0"/>
              <c:showBubbleSize val="0"/>
            </c:dLbl>
            <c:dLbl>
              <c:idx val="1"/>
              <c:tx>
                <c:rich>
                  <a:bodyPr/>
                  <a:lstStyle/>
                  <a:p>
                    <a:pPr>
                      <a:defRPr sz="800">
                        <a:latin typeface="Nexa Book"/>
                      </a:defRPr>
                    </a:pPr>
                    <a:r>
                      <a:t>30</a:t>
                    </a:r>
                  </a:p>
                </c:rich>
              </c:tx>
              <c:dLblPos val="ctr"/>
              <c:showLegendKey val="0"/>
              <c:showVal val="1"/>
              <c:showCatName val="0"/>
              <c:showSerName val="0"/>
              <c:showPercent val="0"/>
              <c:showBubbleSize val="0"/>
            </c:dLbl>
            <c:dLbl>
              <c:idx val="2"/>
              <c:tx>
                <c:rich>
                  <a:bodyPr/>
                  <a:lstStyle/>
                  <a:p>
                    <a:pPr>
                      <a:defRPr sz="800">
                        <a:latin typeface="Nexa Book"/>
                      </a:defRPr>
                    </a:pPr>
                    <a:r>
                      <a:t>26</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55397184.0</c:v>
                </c:pt>
                <c:pt idx="1">
                  <c:v>29660078.0</c:v>
                </c:pt>
                <c:pt idx="2">
                  <c:v>25737106.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5932997692570855</c:v>
                </c:pt>
                <c:pt idx="1">
                  <c:v>0.16429710758540036</c:v>
                </c:pt>
                <c:pt idx="2">
                  <c:v>0.10003110540656611</c:v>
                </c:pt>
                <c:pt idx="3">
                  <c:v>0.049042210667553085</c:v>
                </c:pt>
                <c:pt idx="4">
                  <c:v>0.03391712180362832</c:v>
                </c:pt>
                <c:pt idx="5">
                  <c:v>0.012450800321244605</c:v>
                </c:pt>
                <c:pt idx="6">
                  <c:v>0.011819860389618268</c:v>
                </c:pt>
                <c:pt idx="7">
                  <c:v>0.035142024568903814</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7</a:t>
                    </a:r>
                  </a:p>
                </c:rich>
              </c:tx>
              <c:dLblPos val="ctr"/>
              <c:showLegendKey val="0"/>
              <c:showVal val="1"/>
              <c:showCatName val="0"/>
              <c:showSerName val="0"/>
              <c:showPercent val="0"/>
              <c:showBubbleSize val="0"/>
            </c:dLbl>
            <c:dLbl>
              <c:idx val="1"/>
              <c:tx>
                <c:rich>
                  <a:bodyPr/>
                  <a:lstStyle/>
                  <a:p>
                    <a:pPr>
                      <a:defRPr sz="800">
                        <a:latin typeface="Nexa Book"/>
                      </a:defRPr>
                    </a:pPr>
                    <a:r>
                      <a:t>3</a:t>
                    </a:r>
                  </a:p>
                </c:rich>
              </c:tx>
              <c:dLblPos val="ctr"/>
              <c:showLegendKey val="0"/>
              <c:showVal val="1"/>
              <c:showCatName val="0"/>
              <c:showSerName val="0"/>
              <c:showPercent val="0"/>
              <c:showBubbleSize val="0"/>
            </c:dLbl>
            <c:dLbl>
              <c:idx val="2"/>
              <c:tx>
                <c:rich>
                  <a:bodyPr/>
                  <a:lstStyle/>
                  <a:p>
                    <a:pPr>
                      <a:defRPr sz="800">
                        <a:latin typeface="Nexa Book"/>
                      </a:defRPr>
                    </a:pPr>
                    <a:r>
                      <a:t>3</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6504719.0</c:v>
                </c:pt>
                <c:pt idx="1">
                  <c:v>3035900.0</c:v>
                </c:pt>
                <c:pt idx="2">
                  <c:v>3468819.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1-2960-4508-BA80-9CD1D30EF006}"/>
              </c:ext>
            </c:extLst>
          </c:dPt>
          <c:dPt>
            <c:idx val="1"/>
            <c:invertIfNegative val="1"/>
            <c:bubble3D val="0"/>
            <c:extLst>
              <c:ext xmlns:c16="http://schemas.microsoft.com/office/drawing/2014/chart" uri="{C3380CC4-5D6E-409C-BE32-E72D297353CC}">
                <c16:uniqueId val="{00000003-A2FA-4046-9F96-F8B0F3C1321B}"/>
              </c:ext>
            </c:extLst>
          </c:dPt>
          <c:dPt>
            <c:idx val="2"/>
            <c:invertIfNegative val="1"/>
            <c:bubble3D val="0"/>
            <c:extLst>
              <c:ext xmlns:c16="http://schemas.microsoft.com/office/drawing/2014/chart" uri="{C3380CC4-5D6E-409C-BE32-E72D297353CC}">
                <c16:uniqueId val="{00000005-A2FA-4046-9F96-F8B0F3C1321B}"/>
              </c:ext>
            </c:extLst>
          </c:dPt>
          <c:dPt>
            <c:idx val="3"/>
            <c:invertIfNegative val="1"/>
            <c:bubble3D val="0"/>
            <c:extLst>
              <c:ext xmlns:c16="http://schemas.microsoft.com/office/drawing/2014/chart" uri="{C3380CC4-5D6E-409C-BE32-E72D297353CC}">
                <c16:uniqueId val="{00000002-2960-4508-BA80-9CD1D30EF006}"/>
              </c:ext>
            </c:extLst>
          </c:dPt>
          <c:dPt>
            <c:idx val="4"/>
            <c:invertIfNegative val="1"/>
            <c:bubble3D val="0"/>
            <c:extLst>
              <c:ext xmlns:c16="http://schemas.microsoft.com/office/drawing/2014/chart" uri="{C3380CC4-5D6E-409C-BE32-E72D297353CC}">
                <c16:uniqueId val="{00000009-A2FA-4046-9F96-F8B0F3C1321B}"/>
              </c:ext>
            </c:extLst>
          </c:dPt>
          <c:dPt>
            <c:idx val="5"/>
            <c:invertIfNegative val="1"/>
            <c:bubble3D val="0"/>
            <c:extLst>
              <c:ext xmlns:c16="http://schemas.microsoft.com/office/drawing/2014/chart" uri="{C3380CC4-5D6E-409C-BE32-E72D297353CC}">
                <c16:uniqueId val="{0000000B-A2FA-4046-9F96-F8B0F3C1321B}"/>
              </c:ext>
            </c:extLst>
          </c:dPt>
          <c:dPt>
            <c:idx val="6"/>
            <c:invertIfNegative val="1"/>
            <c:bubble3D val="0"/>
            <c:extLst>
              <c:ext xmlns:c16="http://schemas.microsoft.com/office/drawing/2014/chart" uri="{C3380CC4-5D6E-409C-BE32-E72D297353CC}">
                <c16:uniqueId val="{0000000D-A2FA-4046-9F96-F8B0F3C1321B}"/>
              </c:ext>
            </c:extLst>
          </c:dPt>
          <c:dPt>
            <c:idx val="7"/>
            <c:invertIfNegative val="1"/>
            <c:bubble3D val="0"/>
            <c:extLst>
              <c:ext xmlns:c16="http://schemas.microsoft.com/office/drawing/2014/chart" uri="{C3380CC4-5D6E-409C-BE32-E72D297353CC}">
                <c16:uniqueId val="{00000000-2960-4508-BA80-9CD1D30EF006}"/>
              </c:ext>
            </c:extLst>
          </c:dPt>
          <c:dPt>
            <c:idx val="8"/>
            <c:invertIfNegative val="1"/>
            <c:bubble3D val="0"/>
            <c:extLst>
              <c:ext xmlns:c16="http://schemas.microsoft.com/office/drawing/2014/chart" uri="{C3380CC4-5D6E-409C-BE32-E72D297353CC}">
                <c16:uniqueId val="{00000011-A2FA-4046-9F96-F8B0F3C1321B}"/>
              </c:ext>
            </c:extLst>
          </c:dPt>
          <c:dPt>
            <c:idx val="9"/>
            <c:invertIfNegative val="1"/>
            <c:bubble3D val="0"/>
            <c:extLst>
              <c:ext xmlns:c16="http://schemas.microsoft.com/office/drawing/2014/chart" uri="{C3380CC4-5D6E-409C-BE32-E72D297353CC}">
                <c16:uniqueId val="{00000013-A2FA-4046-9F96-F8B0F3C1321B}"/>
              </c:ext>
            </c:extLst>
          </c:dPt>
          <c:dPt>
            <c:idx val="10"/>
            <c:invertIfNegative val="1"/>
            <c:bubble3D val="0"/>
            <c:extLst>
              <c:ext xmlns:c16="http://schemas.microsoft.com/office/drawing/2014/chart" uri="{C3380CC4-5D6E-409C-BE32-E72D297353CC}">
                <c16:uniqueId val="{00000015-A2FA-4046-9F96-F8B0F3C1321B}"/>
              </c:ext>
            </c:extLst>
          </c:dPt>
          <c:dPt>
            <c:idx val="11"/>
            <c:invertIfNegative val="1"/>
            <c:bubble3D val="0"/>
            <c:extLst>
              <c:ext xmlns:c16="http://schemas.microsoft.com/office/drawing/2014/chart" uri="{C3380CC4-5D6E-409C-BE32-E72D297353CC}">
                <c16:uniqueId val="{00000017-A2FA-4046-9F96-F8B0F3C1321B}"/>
              </c:ext>
            </c:extLst>
          </c:dPt>
          <c:dPt>
            <c:idx val="12"/>
            <c:invertIfNegative val="1"/>
            <c:bubble3D val="0"/>
            <c:extLst>
              <c:ext xmlns:c16="http://schemas.microsoft.com/office/drawing/2014/chart" uri="{C3380CC4-5D6E-409C-BE32-E72D297353CC}">
                <c16:uniqueId val="{00000019-A2FA-4046-9F96-F8B0F3C1321B}"/>
              </c:ext>
            </c:extLst>
          </c:dPt>
          <c:dPt>
            <c:idx val="13"/>
            <c:invertIfNegative val="1"/>
            <c:bubble3D val="0"/>
            <c:extLst>
              <c:ext xmlns:c16="http://schemas.microsoft.com/office/drawing/2014/chart" uri="{C3380CC4-5D6E-409C-BE32-E72D297353CC}">
                <c16:uniqueId val="{0000001B-A2FA-4046-9F96-F8B0F3C1321B}"/>
              </c:ext>
            </c:extLst>
          </c:dPt>
          <c:dPt>
            <c:idx val="14"/>
            <c:invertIfNegative val="1"/>
            <c:bubble3D val="0"/>
            <c:extLst>
              <c:ext xmlns:c16="http://schemas.microsoft.com/office/drawing/2014/chart" uri="{C3380CC4-5D6E-409C-BE32-E72D297353CC}">
                <c16:uniqueId val="{0000001D-A2FA-4046-9F96-F8B0F3C1321B}"/>
              </c:ext>
            </c:extLst>
          </c:dPt>
          <c:dPt>
            <c:idx val="15"/>
            <c:invertIfNegative val="1"/>
            <c:bubble3D val="0"/>
            <c:extLst>
              <c:ext xmlns:c16="http://schemas.microsoft.com/office/drawing/2014/chart" uri="{C3380CC4-5D6E-409C-BE32-E72D297353CC}">
                <c16:uniqueId val="{0000001F-A2FA-4046-9F96-F8B0F3C1321B}"/>
              </c:ext>
            </c:extLst>
          </c:dPt>
          <c:dPt>
            <c:idx val="16"/>
            <c:invertIfNegative val="1"/>
            <c:bubble3D val="0"/>
            <c:extLst>
              <c:ext xmlns:c16="http://schemas.microsoft.com/office/drawing/2014/chart" uri="{C3380CC4-5D6E-409C-BE32-E72D297353CC}">
                <c16:uniqueId val="{00000021-A2FA-4046-9F96-F8B0F3C1321B}"/>
              </c:ext>
            </c:extLst>
          </c:dPt>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24.1%</a:t>
                    </a:r>
                  </a:p>
                </c:rich>
              </c:tx>
              <c:dLblPos val="ctr"/>
              <c:showLegendKey val="0"/>
              <c:showVal val="1"/>
              <c:showCatName val="0"/>
              <c:showSerName val="0"/>
              <c:showPercent val="0"/>
              <c:showBubbleSize val="0"/>
            </c:dLbl>
            <c:dLbl>
              <c:idx val="2"/>
              <c:tx>
                <c:rich>
                  <a:bodyPr/>
                  <a:lstStyle/>
                  <a:p>
                    <a:pPr>
                      <a:defRPr sz="800">
                        <a:latin typeface="Nexa Book"/>
                      </a:defRPr>
                    </a:pPr>
                    <a:r>
                      <a:t>+20.9%</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0.0</c:v>
                </c:pt>
                <c:pt idx="1">
                  <c:v>0.24109999999999998</c:v>
                </c:pt>
                <c:pt idx="2">
                  <c:v>0.20850000000000002</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0-DCEF-4AAE-B747-39856A6177F4}"/>
              </c:ext>
            </c:extLst>
          </c:dPt>
          <c:dPt>
            <c:idx val="1"/>
            <c:invertIfNegative val="1"/>
            <c:bubble3D val="0"/>
            <c:extLst>
              <c:ext xmlns:c16="http://schemas.microsoft.com/office/drawing/2014/chart" uri="{C3380CC4-5D6E-409C-BE32-E72D297353CC}">
                <c16:uniqueId val="{00000003-ECF2-4774-A9B3-59BCC6837E98}"/>
              </c:ext>
            </c:extLst>
          </c:dPt>
          <c:dPt>
            <c:idx val="2"/>
            <c:invertIfNegative val="1"/>
            <c:bubble3D val="0"/>
            <c:extLst>
              <c:ext xmlns:c16="http://schemas.microsoft.com/office/drawing/2014/chart" uri="{C3380CC4-5D6E-409C-BE32-E72D297353CC}">
                <c16:uniqueId val="{00000005-ECF2-4774-A9B3-59BCC6837E98}"/>
              </c:ext>
            </c:extLst>
          </c:dPt>
          <c:dPt>
            <c:idx val="3"/>
            <c:invertIfNegative val="1"/>
            <c:bubble3D val="0"/>
            <c:extLst>
              <c:ext xmlns:c16="http://schemas.microsoft.com/office/drawing/2014/chart" uri="{C3380CC4-5D6E-409C-BE32-E72D297353CC}">
                <c16:uniqueId val="{00000001-DCEF-4AAE-B747-39856A6177F4}"/>
              </c:ext>
            </c:extLst>
          </c:dPt>
          <c:dPt>
            <c:idx val="4"/>
            <c:invertIfNegative val="1"/>
            <c:bubble3D val="0"/>
            <c:extLst>
              <c:ext xmlns:c16="http://schemas.microsoft.com/office/drawing/2014/chart" uri="{C3380CC4-5D6E-409C-BE32-E72D297353CC}">
                <c16:uniqueId val="{00000009-ECF2-4774-A9B3-59BCC6837E98}"/>
              </c:ext>
            </c:extLst>
          </c:dPt>
          <c:dPt>
            <c:idx val="5"/>
            <c:invertIfNegative val="1"/>
            <c:bubble3D val="0"/>
            <c:extLst>
              <c:ext xmlns:c16="http://schemas.microsoft.com/office/drawing/2014/chart" uri="{C3380CC4-5D6E-409C-BE32-E72D297353CC}">
                <c16:uniqueId val="{0000000B-ECF2-4774-A9B3-59BCC6837E98}"/>
              </c:ext>
            </c:extLst>
          </c:dPt>
          <c:dPt>
            <c:idx val="6"/>
            <c:invertIfNegative val="1"/>
            <c:bubble3D val="0"/>
            <c:extLst>
              <c:ext xmlns:c16="http://schemas.microsoft.com/office/drawing/2014/chart" uri="{C3380CC4-5D6E-409C-BE32-E72D297353CC}">
                <c16:uniqueId val="{0000000D-ECF2-4774-A9B3-59BCC6837E98}"/>
              </c:ext>
            </c:extLst>
          </c:dPt>
          <c:dPt>
            <c:idx val="7"/>
            <c:invertIfNegative val="1"/>
            <c:bubble3D val="0"/>
            <c:extLst>
              <c:ext xmlns:c16="http://schemas.microsoft.com/office/drawing/2014/chart" uri="{C3380CC4-5D6E-409C-BE32-E72D297353CC}">
                <c16:uniqueId val="{00000002-DCEF-4AAE-B747-39856A6177F4}"/>
              </c:ext>
            </c:extLst>
          </c:dPt>
          <c:dPt>
            <c:idx val="8"/>
            <c:invertIfNegative val="1"/>
            <c:bubble3D val="0"/>
            <c:extLst>
              <c:ext xmlns:c16="http://schemas.microsoft.com/office/drawing/2014/chart" uri="{C3380CC4-5D6E-409C-BE32-E72D297353CC}">
                <c16:uniqueId val="{00000011-ECF2-4774-A9B3-59BCC6837E98}"/>
              </c:ext>
            </c:extLst>
          </c:dPt>
          <c:dPt>
            <c:idx val="9"/>
            <c:invertIfNegative val="1"/>
            <c:bubble3D val="0"/>
            <c:extLst>
              <c:ext xmlns:c16="http://schemas.microsoft.com/office/drawing/2014/chart" uri="{C3380CC4-5D6E-409C-BE32-E72D297353CC}">
                <c16:uniqueId val="{00000013-ECF2-4774-A9B3-59BCC6837E98}"/>
              </c:ext>
            </c:extLst>
          </c:dPt>
          <c:dPt>
            <c:idx val="10"/>
            <c:invertIfNegative val="1"/>
            <c:bubble3D val="0"/>
            <c:extLst>
              <c:ext xmlns:c16="http://schemas.microsoft.com/office/drawing/2014/chart" uri="{C3380CC4-5D6E-409C-BE32-E72D297353CC}">
                <c16:uniqueId val="{00000015-ECF2-4774-A9B3-59BCC6837E98}"/>
              </c:ext>
            </c:extLst>
          </c:dPt>
          <c:dPt>
            <c:idx val="11"/>
            <c:invertIfNegative val="1"/>
            <c:bubble3D val="0"/>
            <c:extLst>
              <c:ext xmlns:c16="http://schemas.microsoft.com/office/drawing/2014/chart" uri="{C3380CC4-5D6E-409C-BE32-E72D297353CC}">
                <c16:uniqueId val="{00000017-ECF2-4774-A9B3-59BCC6837E98}"/>
              </c:ext>
            </c:extLst>
          </c:dPt>
          <c:dPt>
            <c:idx val="12"/>
            <c:invertIfNegative val="1"/>
            <c:bubble3D val="0"/>
            <c:extLst>
              <c:ext xmlns:c16="http://schemas.microsoft.com/office/drawing/2014/chart" uri="{C3380CC4-5D6E-409C-BE32-E72D297353CC}">
                <c16:uniqueId val="{00000019-ECF2-4774-A9B3-59BCC6837E98}"/>
              </c:ext>
            </c:extLst>
          </c:dPt>
          <c:dPt>
            <c:idx val="13"/>
            <c:invertIfNegative val="1"/>
            <c:bubble3D val="0"/>
            <c:extLst>
              <c:ext xmlns:c16="http://schemas.microsoft.com/office/drawing/2014/chart" uri="{C3380CC4-5D6E-409C-BE32-E72D297353CC}">
                <c16:uniqueId val="{0000001B-ECF2-4774-A9B3-59BCC6837E98}"/>
              </c:ext>
            </c:extLst>
          </c:dPt>
          <c:dPt>
            <c:idx val="14"/>
            <c:invertIfNegative val="1"/>
            <c:bubble3D val="0"/>
            <c:extLst>
              <c:ext xmlns:c16="http://schemas.microsoft.com/office/drawing/2014/chart" uri="{C3380CC4-5D6E-409C-BE32-E72D297353CC}">
                <c16:uniqueId val="{0000001D-ECF2-4774-A9B3-59BCC6837E98}"/>
              </c:ext>
            </c:extLst>
          </c:dPt>
          <c:dPt>
            <c:idx val="15"/>
            <c:invertIfNegative val="1"/>
            <c:bubble3D val="0"/>
            <c:extLst>
              <c:ext xmlns:c16="http://schemas.microsoft.com/office/drawing/2014/chart" uri="{C3380CC4-5D6E-409C-BE32-E72D297353CC}">
                <c16:uniqueId val="{0000001F-ECF2-4774-A9B3-59BCC6837E98}"/>
              </c:ext>
            </c:extLst>
          </c:dPt>
          <c:dPt>
            <c:idx val="16"/>
            <c:invertIfNegative val="1"/>
            <c:bubble3D val="0"/>
            <c:extLst>
              <c:ext xmlns:c16="http://schemas.microsoft.com/office/drawing/2014/chart" uri="{C3380CC4-5D6E-409C-BE32-E72D297353CC}">
                <c16:uniqueId val="{00000021-ECF2-4774-A9B3-59BCC6837E98}"/>
              </c:ext>
            </c:extLst>
          </c:dPt>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20.3%</a:t>
                    </a:r>
                  </a:p>
                </c:rich>
              </c:tx>
              <c:dLblPos val="ctr"/>
              <c:showLegendKey val="0"/>
              <c:showVal val="1"/>
              <c:showCatName val="0"/>
              <c:showSerName val="0"/>
              <c:showPercent val="0"/>
              <c:showBubbleSize val="0"/>
            </c:dLbl>
            <c:dLbl>
              <c:idx val="2"/>
              <c:tx>
                <c:rich>
                  <a:bodyPr/>
                  <a:lstStyle/>
                  <a:p>
                    <a:pPr>
                      <a:defRPr sz="800">
                        <a:latin typeface="Nexa Book"/>
                      </a:defRPr>
                    </a:pPr>
                    <a:r>
                      <a:t>+17.9%</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0.0</c:v>
                </c:pt>
                <c:pt idx="1">
                  <c:v>0.20279999999999998</c:v>
                </c:pt>
                <c:pt idx="2">
                  <c:v>0.17919999999999997</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53.5 %</a:t>
                    </a:r>
                  </a:p>
                </c:rich>
              </c:tx>
              <c:dLblPos val="ctr"/>
              <c:showLegendKey val="0"/>
              <c:showVal val="1"/>
              <c:showCatName val="0"/>
              <c:showSerName val="0"/>
              <c:showPercent val="0"/>
              <c:showBubbleSize val="0"/>
            </c:dLbl>
            <c:dLbl>
              <c:idx val="2"/>
              <c:tx>
                <c:rich>
                  <a:bodyPr/>
                  <a:lstStyle/>
                  <a:p>
                    <a:pPr>
                      <a:defRPr sz="800">
                        <a:latin typeface="Nexa Book"/>
                      </a:defRPr>
                    </a:pPr>
                    <a:r>
                      <a:t>46.5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1.0</c:v>
                </c:pt>
                <c:pt idx="1">
                  <c:v>0.5354</c:v>
                </c:pt>
                <c:pt idx="2">
                  <c:v>0.464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47.9 %</a:t>
                    </a:r>
                  </a:p>
                </c:rich>
              </c:tx>
              <c:dLblPos val="ctr"/>
              <c:showLegendKey val="0"/>
              <c:showVal val="1"/>
              <c:showCatName val="0"/>
              <c:showSerName val="0"/>
              <c:showPercent val="0"/>
              <c:showBubbleSize val="0"/>
            </c:dLbl>
            <c:dLbl>
              <c:idx val="2"/>
              <c:tx>
                <c:rich>
                  <a:bodyPr/>
                  <a:lstStyle/>
                  <a:p>
                    <a:pPr>
                      <a:defRPr sz="800">
                        <a:latin typeface="Nexa Book"/>
                      </a:defRPr>
                    </a:pPr>
                    <a:r>
                      <a:t>52.1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1.0</c:v>
                </c:pt>
                <c:pt idx="1">
                  <c:v>0.4785</c:v>
                </c:pt>
                <c:pt idx="2">
                  <c:v>0.521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55</a:t>
                    </a:r>
                  </a:p>
                </c:rich>
              </c:tx>
              <c:dLblPos val="ctr"/>
              <c:showLegendKey val="0"/>
              <c:showVal val="1"/>
              <c:showCatName val="0"/>
              <c:showSerName val="0"/>
              <c:showPercent val="0"/>
              <c:showBubbleSize val="0"/>
            </c:dLbl>
            <c:dLbl>
              <c:idx val="1"/>
              <c:tx>
                <c:rich>
                  <a:bodyPr/>
                  <a:lstStyle/>
                  <a:p>
                    <a:pPr>
                      <a:defRPr sz="800">
                        <a:latin typeface="Nexa Book"/>
                      </a:defRPr>
                    </a:pPr>
                    <a:r>
                      <a:t>30</a:t>
                    </a:r>
                  </a:p>
                </c:rich>
              </c:tx>
              <c:dLblPos val="ctr"/>
              <c:showLegendKey val="0"/>
              <c:showVal val="1"/>
              <c:showCatName val="0"/>
              <c:showSerName val="0"/>
              <c:showPercent val="0"/>
              <c:showBubbleSize val="0"/>
            </c:dLbl>
            <c:dLbl>
              <c:idx val="2"/>
              <c:tx>
                <c:rich>
                  <a:bodyPr/>
                  <a:lstStyle/>
                  <a:p>
                    <a:pPr>
                      <a:defRPr sz="800">
                        <a:latin typeface="Nexa Book"/>
                      </a:defRPr>
                    </a:pPr>
                    <a:r>
                      <a:t>26</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55397184.0</c:v>
                </c:pt>
                <c:pt idx="1">
                  <c:v>29660078.0</c:v>
                </c:pt>
                <c:pt idx="2">
                  <c:v>25737106.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7</a:t>
                    </a:r>
                  </a:p>
                </c:rich>
              </c:tx>
              <c:dLblPos val="ctr"/>
              <c:showLegendKey val="0"/>
              <c:showVal val="1"/>
              <c:showCatName val="0"/>
              <c:showSerName val="0"/>
              <c:showPercent val="0"/>
              <c:showBubbleSize val="0"/>
            </c:dLbl>
            <c:dLbl>
              <c:idx val="1"/>
              <c:tx>
                <c:rich>
                  <a:bodyPr/>
                  <a:lstStyle/>
                  <a:p>
                    <a:pPr>
                      <a:defRPr sz="800">
                        <a:latin typeface="Nexa Book"/>
                      </a:defRPr>
                    </a:pPr>
                    <a:r>
                      <a:t>3</a:t>
                    </a:r>
                  </a:p>
                </c:rich>
              </c:tx>
              <c:dLblPos val="ctr"/>
              <c:showLegendKey val="0"/>
              <c:showVal val="1"/>
              <c:showCatName val="0"/>
              <c:showSerName val="0"/>
              <c:showPercent val="0"/>
              <c:showBubbleSize val="0"/>
            </c:dLbl>
            <c:dLbl>
              <c:idx val="2"/>
              <c:tx>
                <c:rich>
                  <a:bodyPr/>
                  <a:lstStyle/>
                  <a:p>
                    <a:pPr>
                      <a:defRPr sz="800">
                        <a:latin typeface="Nexa Book"/>
                      </a:defRPr>
                    </a:pPr>
                    <a:r>
                      <a:t>4</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6985717.0</c:v>
                </c:pt>
                <c:pt idx="1">
                  <c:v>3342792.0</c:v>
                </c:pt>
                <c:pt idx="2">
                  <c:v>3642925.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1-2960-4508-BA80-9CD1D30EF006}"/>
              </c:ext>
            </c:extLst>
          </c:dPt>
          <c:dPt>
            <c:idx val="1"/>
            <c:invertIfNegative val="1"/>
            <c:bubble3D val="0"/>
            <c:extLst>
              <c:ext xmlns:c16="http://schemas.microsoft.com/office/drawing/2014/chart" uri="{C3380CC4-5D6E-409C-BE32-E72D297353CC}">
                <c16:uniqueId val="{00000003-A2FA-4046-9F96-F8B0F3C1321B}"/>
              </c:ext>
            </c:extLst>
          </c:dPt>
          <c:dPt>
            <c:idx val="2"/>
            <c:invertIfNegative val="1"/>
            <c:bubble3D val="0"/>
            <c:extLst>
              <c:ext xmlns:c16="http://schemas.microsoft.com/office/drawing/2014/chart" uri="{C3380CC4-5D6E-409C-BE32-E72D297353CC}">
                <c16:uniqueId val="{00000005-A2FA-4046-9F96-F8B0F3C1321B}"/>
              </c:ext>
            </c:extLst>
          </c:dPt>
          <c:dPt>
            <c:idx val="3"/>
            <c:invertIfNegative val="1"/>
            <c:bubble3D val="0"/>
            <c:extLst>
              <c:ext xmlns:c16="http://schemas.microsoft.com/office/drawing/2014/chart" uri="{C3380CC4-5D6E-409C-BE32-E72D297353CC}">
                <c16:uniqueId val="{00000002-2960-4508-BA80-9CD1D30EF006}"/>
              </c:ext>
            </c:extLst>
          </c:dPt>
          <c:dPt>
            <c:idx val="4"/>
            <c:invertIfNegative val="1"/>
            <c:bubble3D val="0"/>
            <c:extLst>
              <c:ext xmlns:c16="http://schemas.microsoft.com/office/drawing/2014/chart" uri="{C3380CC4-5D6E-409C-BE32-E72D297353CC}">
                <c16:uniqueId val="{00000009-A2FA-4046-9F96-F8B0F3C1321B}"/>
              </c:ext>
            </c:extLst>
          </c:dPt>
          <c:dPt>
            <c:idx val="5"/>
            <c:invertIfNegative val="1"/>
            <c:bubble3D val="0"/>
            <c:extLst>
              <c:ext xmlns:c16="http://schemas.microsoft.com/office/drawing/2014/chart" uri="{C3380CC4-5D6E-409C-BE32-E72D297353CC}">
                <c16:uniqueId val="{0000000B-A2FA-4046-9F96-F8B0F3C1321B}"/>
              </c:ext>
            </c:extLst>
          </c:dPt>
          <c:dPt>
            <c:idx val="6"/>
            <c:invertIfNegative val="1"/>
            <c:bubble3D val="0"/>
            <c:extLst>
              <c:ext xmlns:c16="http://schemas.microsoft.com/office/drawing/2014/chart" uri="{C3380CC4-5D6E-409C-BE32-E72D297353CC}">
                <c16:uniqueId val="{0000000D-A2FA-4046-9F96-F8B0F3C1321B}"/>
              </c:ext>
            </c:extLst>
          </c:dPt>
          <c:dPt>
            <c:idx val="7"/>
            <c:invertIfNegative val="1"/>
            <c:bubble3D val="0"/>
            <c:extLst>
              <c:ext xmlns:c16="http://schemas.microsoft.com/office/drawing/2014/chart" uri="{C3380CC4-5D6E-409C-BE32-E72D297353CC}">
                <c16:uniqueId val="{00000000-2960-4508-BA80-9CD1D30EF006}"/>
              </c:ext>
            </c:extLst>
          </c:dPt>
          <c:dPt>
            <c:idx val="8"/>
            <c:invertIfNegative val="1"/>
            <c:bubble3D val="0"/>
            <c:extLst>
              <c:ext xmlns:c16="http://schemas.microsoft.com/office/drawing/2014/chart" uri="{C3380CC4-5D6E-409C-BE32-E72D297353CC}">
                <c16:uniqueId val="{00000011-A2FA-4046-9F96-F8B0F3C1321B}"/>
              </c:ext>
            </c:extLst>
          </c:dPt>
          <c:dPt>
            <c:idx val="9"/>
            <c:invertIfNegative val="1"/>
            <c:bubble3D val="0"/>
            <c:extLst>
              <c:ext xmlns:c16="http://schemas.microsoft.com/office/drawing/2014/chart" uri="{C3380CC4-5D6E-409C-BE32-E72D297353CC}">
                <c16:uniqueId val="{00000013-A2FA-4046-9F96-F8B0F3C1321B}"/>
              </c:ext>
            </c:extLst>
          </c:dPt>
          <c:dPt>
            <c:idx val="10"/>
            <c:invertIfNegative val="1"/>
            <c:bubble3D val="0"/>
            <c:extLst>
              <c:ext xmlns:c16="http://schemas.microsoft.com/office/drawing/2014/chart" uri="{C3380CC4-5D6E-409C-BE32-E72D297353CC}">
                <c16:uniqueId val="{00000015-A2FA-4046-9F96-F8B0F3C1321B}"/>
              </c:ext>
            </c:extLst>
          </c:dPt>
          <c:dPt>
            <c:idx val="11"/>
            <c:invertIfNegative val="1"/>
            <c:bubble3D val="0"/>
            <c:extLst>
              <c:ext xmlns:c16="http://schemas.microsoft.com/office/drawing/2014/chart" uri="{C3380CC4-5D6E-409C-BE32-E72D297353CC}">
                <c16:uniqueId val="{00000017-A2FA-4046-9F96-F8B0F3C1321B}"/>
              </c:ext>
            </c:extLst>
          </c:dPt>
          <c:dPt>
            <c:idx val="12"/>
            <c:invertIfNegative val="1"/>
            <c:bubble3D val="0"/>
            <c:extLst>
              <c:ext xmlns:c16="http://schemas.microsoft.com/office/drawing/2014/chart" uri="{C3380CC4-5D6E-409C-BE32-E72D297353CC}">
                <c16:uniqueId val="{00000019-A2FA-4046-9F96-F8B0F3C1321B}"/>
              </c:ext>
            </c:extLst>
          </c:dPt>
          <c:dPt>
            <c:idx val="13"/>
            <c:invertIfNegative val="1"/>
            <c:bubble3D val="0"/>
            <c:extLst>
              <c:ext xmlns:c16="http://schemas.microsoft.com/office/drawing/2014/chart" uri="{C3380CC4-5D6E-409C-BE32-E72D297353CC}">
                <c16:uniqueId val="{0000001B-A2FA-4046-9F96-F8B0F3C1321B}"/>
              </c:ext>
            </c:extLst>
          </c:dPt>
          <c:dPt>
            <c:idx val="14"/>
            <c:invertIfNegative val="1"/>
            <c:bubble3D val="0"/>
            <c:extLst>
              <c:ext xmlns:c16="http://schemas.microsoft.com/office/drawing/2014/chart" uri="{C3380CC4-5D6E-409C-BE32-E72D297353CC}">
                <c16:uniqueId val="{0000001D-A2FA-4046-9F96-F8B0F3C1321B}"/>
              </c:ext>
            </c:extLst>
          </c:dPt>
          <c:dPt>
            <c:idx val="15"/>
            <c:invertIfNegative val="1"/>
            <c:bubble3D val="0"/>
            <c:extLst>
              <c:ext xmlns:c16="http://schemas.microsoft.com/office/drawing/2014/chart" uri="{C3380CC4-5D6E-409C-BE32-E72D297353CC}">
                <c16:uniqueId val="{0000001F-A2FA-4046-9F96-F8B0F3C1321B}"/>
              </c:ext>
            </c:extLst>
          </c:dPt>
          <c:dPt>
            <c:idx val="16"/>
            <c:invertIfNegative val="1"/>
            <c:bubble3D val="0"/>
            <c:extLst>
              <c:ext xmlns:c16="http://schemas.microsoft.com/office/drawing/2014/chart" uri="{C3380CC4-5D6E-409C-BE32-E72D297353CC}">
                <c16:uniqueId val="{00000021-A2FA-4046-9F96-F8B0F3C1321B}"/>
              </c:ext>
            </c:extLst>
          </c:dPt>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24.1%</a:t>
                    </a:r>
                  </a:p>
                </c:rich>
              </c:tx>
              <c:dLblPos val="ctr"/>
              <c:showLegendKey val="0"/>
              <c:showVal val="1"/>
              <c:showCatName val="0"/>
              <c:showSerName val="0"/>
              <c:showPercent val="0"/>
              <c:showBubbleSize val="0"/>
            </c:dLbl>
            <c:dLbl>
              <c:idx val="2"/>
              <c:tx>
                <c:rich>
                  <a:bodyPr/>
                  <a:lstStyle/>
                  <a:p>
                    <a:pPr>
                      <a:defRPr sz="800">
                        <a:latin typeface="Nexa Book"/>
                      </a:defRPr>
                    </a:pPr>
                    <a:r>
                      <a:t>+20.9%</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0.0</c:v>
                </c:pt>
                <c:pt idx="1">
                  <c:v>0.24109999999999998</c:v>
                </c:pt>
                <c:pt idx="2">
                  <c:v>0.20850000000000002</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0-DCEF-4AAE-B747-39856A6177F4}"/>
              </c:ext>
            </c:extLst>
          </c:dPt>
          <c:dPt>
            <c:idx val="1"/>
            <c:invertIfNegative val="1"/>
            <c:bubble3D val="0"/>
            <c:extLst>
              <c:ext xmlns:c16="http://schemas.microsoft.com/office/drawing/2014/chart" uri="{C3380CC4-5D6E-409C-BE32-E72D297353CC}">
                <c16:uniqueId val="{00000003-ECF2-4774-A9B3-59BCC6837E98}"/>
              </c:ext>
            </c:extLst>
          </c:dPt>
          <c:dPt>
            <c:idx val="2"/>
            <c:invertIfNegative val="1"/>
            <c:bubble3D val="0"/>
            <c:extLst>
              <c:ext xmlns:c16="http://schemas.microsoft.com/office/drawing/2014/chart" uri="{C3380CC4-5D6E-409C-BE32-E72D297353CC}">
                <c16:uniqueId val="{00000005-ECF2-4774-A9B3-59BCC6837E98}"/>
              </c:ext>
            </c:extLst>
          </c:dPt>
          <c:dPt>
            <c:idx val="3"/>
            <c:invertIfNegative val="1"/>
            <c:bubble3D val="0"/>
            <c:extLst>
              <c:ext xmlns:c16="http://schemas.microsoft.com/office/drawing/2014/chart" uri="{C3380CC4-5D6E-409C-BE32-E72D297353CC}">
                <c16:uniqueId val="{00000001-DCEF-4AAE-B747-39856A6177F4}"/>
              </c:ext>
            </c:extLst>
          </c:dPt>
          <c:dPt>
            <c:idx val="4"/>
            <c:invertIfNegative val="1"/>
            <c:bubble3D val="0"/>
            <c:extLst>
              <c:ext xmlns:c16="http://schemas.microsoft.com/office/drawing/2014/chart" uri="{C3380CC4-5D6E-409C-BE32-E72D297353CC}">
                <c16:uniqueId val="{00000009-ECF2-4774-A9B3-59BCC6837E98}"/>
              </c:ext>
            </c:extLst>
          </c:dPt>
          <c:dPt>
            <c:idx val="5"/>
            <c:invertIfNegative val="1"/>
            <c:bubble3D val="0"/>
            <c:extLst>
              <c:ext xmlns:c16="http://schemas.microsoft.com/office/drawing/2014/chart" uri="{C3380CC4-5D6E-409C-BE32-E72D297353CC}">
                <c16:uniqueId val="{0000000B-ECF2-4774-A9B3-59BCC6837E98}"/>
              </c:ext>
            </c:extLst>
          </c:dPt>
          <c:dPt>
            <c:idx val="6"/>
            <c:invertIfNegative val="1"/>
            <c:bubble3D val="0"/>
            <c:extLst>
              <c:ext xmlns:c16="http://schemas.microsoft.com/office/drawing/2014/chart" uri="{C3380CC4-5D6E-409C-BE32-E72D297353CC}">
                <c16:uniqueId val="{0000000D-ECF2-4774-A9B3-59BCC6837E98}"/>
              </c:ext>
            </c:extLst>
          </c:dPt>
          <c:dPt>
            <c:idx val="7"/>
            <c:invertIfNegative val="1"/>
            <c:bubble3D val="0"/>
            <c:extLst>
              <c:ext xmlns:c16="http://schemas.microsoft.com/office/drawing/2014/chart" uri="{C3380CC4-5D6E-409C-BE32-E72D297353CC}">
                <c16:uniqueId val="{00000002-DCEF-4AAE-B747-39856A6177F4}"/>
              </c:ext>
            </c:extLst>
          </c:dPt>
          <c:dPt>
            <c:idx val="8"/>
            <c:invertIfNegative val="1"/>
            <c:bubble3D val="0"/>
            <c:extLst>
              <c:ext xmlns:c16="http://schemas.microsoft.com/office/drawing/2014/chart" uri="{C3380CC4-5D6E-409C-BE32-E72D297353CC}">
                <c16:uniqueId val="{00000011-ECF2-4774-A9B3-59BCC6837E98}"/>
              </c:ext>
            </c:extLst>
          </c:dPt>
          <c:dPt>
            <c:idx val="9"/>
            <c:invertIfNegative val="1"/>
            <c:bubble3D val="0"/>
            <c:extLst>
              <c:ext xmlns:c16="http://schemas.microsoft.com/office/drawing/2014/chart" uri="{C3380CC4-5D6E-409C-BE32-E72D297353CC}">
                <c16:uniqueId val="{00000013-ECF2-4774-A9B3-59BCC6837E98}"/>
              </c:ext>
            </c:extLst>
          </c:dPt>
          <c:dPt>
            <c:idx val="10"/>
            <c:invertIfNegative val="1"/>
            <c:bubble3D val="0"/>
            <c:extLst>
              <c:ext xmlns:c16="http://schemas.microsoft.com/office/drawing/2014/chart" uri="{C3380CC4-5D6E-409C-BE32-E72D297353CC}">
                <c16:uniqueId val="{00000015-ECF2-4774-A9B3-59BCC6837E98}"/>
              </c:ext>
            </c:extLst>
          </c:dPt>
          <c:dPt>
            <c:idx val="11"/>
            <c:invertIfNegative val="1"/>
            <c:bubble3D val="0"/>
            <c:extLst>
              <c:ext xmlns:c16="http://schemas.microsoft.com/office/drawing/2014/chart" uri="{C3380CC4-5D6E-409C-BE32-E72D297353CC}">
                <c16:uniqueId val="{00000017-ECF2-4774-A9B3-59BCC6837E98}"/>
              </c:ext>
            </c:extLst>
          </c:dPt>
          <c:dPt>
            <c:idx val="12"/>
            <c:invertIfNegative val="1"/>
            <c:bubble3D val="0"/>
            <c:extLst>
              <c:ext xmlns:c16="http://schemas.microsoft.com/office/drawing/2014/chart" uri="{C3380CC4-5D6E-409C-BE32-E72D297353CC}">
                <c16:uniqueId val="{00000019-ECF2-4774-A9B3-59BCC6837E98}"/>
              </c:ext>
            </c:extLst>
          </c:dPt>
          <c:dPt>
            <c:idx val="13"/>
            <c:invertIfNegative val="1"/>
            <c:bubble3D val="0"/>
            <c:extLst>
              <c:ext xmlns:c16="http://schemas.microsoft.com/office/drawing/2014/chart" uri="{C3380CC4-5D6E-409C-BE32-E72D297353CC}">
                <c16:uniqueId val="{0000001B-ECF2-4774-A9B3-59BCC6837E98}"/>
              </c:ext>
            </c:extLst>
          </c:dPt>
          <c:dPt>
            <c:idx val="14"/>
            <c:invertIfNegative val="1"/>
            <c:bubble3D val="0"/>
            <c:extLst>
              <c:ext xmlns:c16="http://schemas.microsoft.com/office/drawing/2014/chart" uri="{C3380CC4-5D6E-409C-BE32-E72D297353CC}">
                <c16:uniqueId val="{0000001D-ECF2-4774-A9B3-59BCC6837E98}"/>
              </c:ext>
            </c:extLst>
          </c:dPt>
          <c:dPt>
            <c:idx val="15"/>
            <c:invertIfNegative val="1"/>
            <c:bubble3D val="0"/>
            <c:extLst>
              <c:ext xmlns:c16="http://schemas.microsoft.com/office/drawing/2014/chart" uri="{C3380CC4-5D6E-409C-BE32-E72D297353CC}">
                <c16:uniqueId val="{0000001F-ECF2-4774-A9B3-59BCC6837E98}"/>
              </c:ext>
            </c:extLst>
          </c:dPt>
          <c:dPt>
            <c:idx val="16"/>
            <c:invertIfNegative val="1"/>
            <c:bubble3D val="0"/>
            <c:extLst>
              <c:ext xmlns:c16="http://schemas.microsoft.com/office/drawing/2014/chart" uri="{C3380CC4-5D6E-409C-BE32-E72D297353CC}">
                <c16:uniqueId val="{00000021-ECF2-4774-A9B3-59BCC6837E98}"/>
              </c:ext>
            </c:extLst>
          </c:dPt>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19.8%</a:t>
                    </a:r>
                  </a:p>
                </c:rich>
              </c:tx>
              <c:dLblPos val="ctr"/>
              <c:showLegendKey val="0"/>
              <c:showVal val="1"/>
              <c:showCatName val="0"/>
              <c:showSerName val="0"/>
              <c:showPercent val="0"/>
              <c:showBubbleSize val="0"/>
            </c:dLbl>
            <c:dLbl>
              <c:idx val="2"/>
              <c:tx>
                <c:rich>
                  <a:bodyPr/>
                  <a:lstStyle/>
                  <a:p>
                    <a:pPr>
                      <a:defRPr sz="800">
                        <a:latin typeface="Nexa Book"/>
                      </a:defRPr>
                    </a:pPr>
                    <a:r>
                      <a:t>+17.7%</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0.0</c:v>
                </c:pt>
                <c:pt idx="1">
                  <c:v>0.1981</c:v>
                </c:pt>
                <c:pt idx="2">
                  <c:v>0.17689999999999995</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58.7 %</a:t>
                    </a:r>
                  </a:p>
                </c:rich>
              </c:tx>
              <c:dLblPos val="ctr"/>
              <c:showLegendKey val="0"/>
              <c:showVal val="1"/>
              <c:showCatName val="0"/>
              <c:showSerName val="0"/>
              <c:showPercent val="0"/>
              <c:showBubbleSize val="0"/>
            </c:dLbl>
            <c:dLbl>
              <c:idx val="2"/>
              <c:tx>
                <c:rich>
                  <a:bodyPr/>
                  <a:lstStyle/>
                  <a:p>
                    <a:pPr>
                      <a:defRPr sz="800">
                        <a:latin typeface="Nexa Book"/>
                      </a:defRPr>
                    </a:pPr>
                    <a:r>
                      <a:t>41.3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1.0</c:v>
                </c:pt>
                <c:pt idx="1">
                  <c:v>0.5872</c:v>
                </c:pt>
                <c:pt idx="2">
                  <c:v>0.4128</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3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6</c:f>
              <c:numCache>
                <c:formatCode>General</c:formatCode>
                <c:ptCount val="5"/>
                <c:pt idx="0">
                  <c:v>0.013479003161866121</c:v>
                </c:pt>
                <c:pt idx="1">
                  <c:v>-0.010871280991876175</c:v>
                </c:pt>
                <c:pt idx="2">
                  <c:v>-0.013642223136867512</c:v>
                </c:pt>
                <c:pt idx="3">
                  <c:v>0.007857292670834504</c:v>
                </c:pt>
                <c:pt idx="4">
                  <c:v>0.00317720829604298</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62.5 %</a:t>
                    </a:r>
                  </a:p>
                </c:rich>
              </c:tx>
              <c:dLblPos val="ctr"/>
              <c:showLegendKey val="0"/>
              <c:showVal val="1"/>
              <c:showCatName val="0"/>
              <c:showSerName val="0"/>
              <c:showPercent val="0"/>
              <c:showBubbleSize val="0"/>
            </c:dLbl>
            <c:dLbl>
              <c:idx val="2"/>
              <c:tx>
                <c:rich>
                  <a:bodyPr/>
                  <a:lstStyle/>
                  <a:p>
                    <a:pPr>
                      <a:defRPr sz="800">
                        <a:latin typeface="Nexa Book"/>
                      </a:defRPr>
                    </a:pPr>
                    <a:r>
                      <a:t>37.5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1.0</c:v>
                </c:pt>
                <c:pt idx="1">
                  <c:v>0.6254</c:v>
                </c:pt>
                <c:pt idx="2">
                  <c:v>0.374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136</a:t>
                    </a:r>
                  </a:p>
                </c:rich>
              </c:tx>
              <c:dLblPos val="ctr"/>
              <c:showLegendKey val="0"/>
              <c:showVal val="1"/>
              <c:showCatName val="0"/>
              <c:showSerName val="0"/>
              <c:showPercent val="0"/>
              <c:showBubbleSize val="0"/>
            </c:dLbl>
            <c:dLbl>
              <c:idx val="1"/>
              <c:tx>
                <c:rich>
                  <a:bodyPr/>
                  <a:lstStyle/>
                  <a:p>
                    <a:pPr>
                      <a:defRPr sz="800">
                        <a:latin typeface="Nexa Book"/>
                      </a:defRPr>
                    </a:pPr>
                    <a:r>
                      <a:t>80</a:t>
                    </a:r>
                  </a:p>
                </c:rich>
              </c:tx>
              <c:dLblPos val="ctr"/>
              <c:showLegendKey val="0"/>
              <c:showVal val="1"/>
              <c:showCatName val="0"/>
              <c:showSerName val="0"/>
              <c:showPercent val="0"/>
              <c:showBubbleSize val="0"/>
            </c:dLbl>
            <c:dLbl>
              <c:idx val="2"/>
              <c:tx>
                <c:rich>
                  <a:bodyPr/>
                  <a:lstStyle/>
                  <a:p>
                    <a:pPr>
                      <a:defRPr sz="800">
                        <a:latin typeface="Nexa Book"/>
                      </a:defRPr>
                    </a:pPr>
                    <a:r>
                      <a:t>56</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136013747.0</c:v>
                </c:pt>
                <c:pt idx="1">
                  <c:v>79861894.0</c:v>
                </c:pt>
                <c:pt idx="2">
                  <c:v>56151853.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2</a:t>
                    </a:r>
                  </a:p>
                </c:rich>
              </c:tx>
              <c:dLblPos val="ctr"/>
              <c:showLegendKey val="0"/>
              <c:showVal val="1"/>
              <c:showCatName val="0"/>
              <c:showSerName val="0"/>
              <c:showPercent val="0"/>
              <c:showBubbleSize val="0"/>
            </c:dLbl>
            <c:dLbl>
              <c:idx val="1"/>
              <c:tx>
                <c:rich>
                  <a:bodyPr/>
                  <a:lstStyle/>
                  <a:p>
                    <a:pPr>
                      <a:defRPr sz="800">
                        <a:latin typeface="Nexa Book"/>
                      </a:defRPr>
                    </a:pPr>
                    <a:r>
                      <a:t>1</a:t>
                    </a:r>
                  </a:p>
                </c:rich>
              </c:tx>
              <c:dLblPos val="ctr"/>
              <c:showLegendKey val="0"/>
              <c:showVal val="1"/>
              <c:showCatName val="0"/>
              <c:showSerName val="0"/>
              <c:showPercent val="0"/>
              <c:showBubbleSize val="0"/>
            </c:dLbl>
            <c:dLbl>
              <c:idx val="2"/>
              <c:tx>
                <c:rich>
                  <a:bodyPr/>
                  <a:lstStyle/>
                  <a:p>
                    <a:pPr>
                      <a:defRPr sz="800">
                        <a:latin typeface="Nexa Book"/>
                      </a:defRPr>
                    </a:pPr>
                    <a:r>
                      <a:t>1</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2061476.0</c:v>
                </c:pt>
                <c:pt idx="1">
                  <c:v>1289340.0</c:v>
                </c:pt>
                <c:pt idx="2">
                  <c:v>772136.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1-2960-4508-BA80-9CD1D30EF006}"/>
              </c:ext>
            </c:extLst>
          </c:dPt>
          <c:dPt>
            <c:idx val="1"/>
            <c:invertIfNegative val="1"/>
            <c:bubble3D val="0"/>
            <c:extLst>
              <c:ext xmlns:c16="http://schemas.microsoft.com/office/drawing/2014/chart" uri="{C3380CC4-5D6E-409C-BE32-E72D297353CC}">
                <c16:uniqueId val="{00000003-A2FA-4046-9F96-F8B0F3C1321B}"/>
              </c:ext>
            </c:extLst>
          </c:dPt>
          <c:dPt>
            <c:idx val="2"/>
            <c:invertIfNegative val="1"/>
            <c:bubble3D val="0"/>
            <c:extLst>
              <c:ext xmlns:c16="http://schemas.microsoft.com/office/drawing/2014/chart" uri="{C3380CC4-5D6E-409C-BE32-E72D297353CC}">
                <c16:uniqueId val="{00000005-A2FA-4046-9F96-F8B0F3C1321B}"/>
              </c:ext>
            </c:extLst>
          </c:dPt>
          <c:dPt>
            <c:idx val="3"/>
            <c:invertIfNegative val="1"/>
            <c:bubble3D val="0"/>
            <c:extLst>
              <c:ext xmlns:c16="http://schemas.microsoft.com/office/drawing/2014/chart" uri="{C3380CC4-5D6E-409C-BE32-E72D297353CC}">
                <c16:uniqueId val="{00000002-2960-4508-BA80-9CD1D30EF006}"/>
              </c:ext>
            </c:extLst>
          </c:dPt>
          <c:dPt>
            <c:idx val="4"/>
            <c:invertIfNegative val="1"/>
            <c:bubble3D val="0"/>
            <c:extLst>
              <c:ext xmlns:c16="http://schemas.microsoft.com/office/drawing/2014/chart" uri="{C3380CC4-5D6E-409C-BE32-E72D297353CC}">
                <c16:uniqueId val="{00000009-A2FA-4046-9F96-F8B0F3C1321B}"/>
              </c:ext>
            </c:extLst>
          </c:dPt>
          <c:dPt>
            <c:idx val="5"/>
            <c:invertIfNegative val="1"/>
            <c:bubble3D val="0"/>
            <c:extLst>
              <c:ext xmlns:c16="http://schemas.microsoft.com/office/drawing/2014/chart" uri="{C3380CC4-5D6E-409C-BE32-E72D297353CC}">
                <c16:uniqueId val="{0000000B-A2FA-4046-9F96-F8B0F3C1321B}"/>
              </c:ext>
            </c:extLst>
          </c:dPt>
          <c:dPt>
            <c:idx val="6"/>
            <c:invertIfNegative val="1"/>
            <c:bubble3D val="0"/>
            <c:extLst>
              <c:ext xmlns:c16="http://schemas.microsoft.com/office/drawing/2014/chart" uri="{C3380CC4-5D6E-409C-BE32-E72D297353CC}">
                <c16:uniqueId val="{0000000D-A2FA-4046-9F96-F8B0F3C1321B}"/>
              </c:ext>
            </c:extLst>
          </c:dPt>
          <c:dPt>
            <c:idx val="7"/>
            <c:invertIfNegative val="1"/>
            <c:bubble3D val="0"/>
            <c:extLst>
              <c:ext xmlns:c16="http://schemas.microsoft.com/office/drawing/2014/chart" uri="{C3380CC4-5D6E-409C-BE32-E72D297353CC}">
                <c16:uniqueId val="{00000000-2960-4508-BA80-9CD1D30EF006}"/>
              </c:ext>
            </c:extLst>
          </c:dPt>
          <c:dPt>
            <c:idx val="8"/>
            <c:invertIfNegative val="1"/>
            <c:bubble3D val="0"/>
            <c:extLst>
              <c:ext xmlns:c16="http://schemas.microsoft.com/office/drawing/2014/chart" uri="{C3380CC4-5D6E-409C-BE32-E72D297353CC}">
                <c16:uniqueId val="{00000011-A2FA-4046-9F96-F8B0F3C1321B}"/>
              </c:ext>
            </c:extLst>
          </c:dPt>
          <c:dPt>
            <c:idx val="9"/>
            <c:invertIfNegative val="1"/>
            <c:bubble3D val="0"/>
            <c:extLst>
              <c:ext xmlns:c16="http://schemas.microsoft.com/office/drawing/2014/chart" uri="{C3380CC4-5D6E-409C-BE32-E72D297353CC}">
                <c16:uniqueId val="{00000013-A2FA-4046-9F96-F8B0F3C1321B}"/>
              </c:ext>
            </c:extLst>
          </c:dPt>
          <c:dPt>
            <c:idx val="10"/>
            <c:invertIfNegative val="1"/>
            <c:bubble3D val="0"/>
            <c:extLst>
              <c:ext xmlns:c16="http://schemas.microsoft.com/office/drawing/2014/chart" uri="{C3380CC4-5D6E-409C-BE32-E72D297353CC}">
                <c16:uniqueId val="{00000015-A2FA-4046-9F96-F8B0F3C1321B}"/>
              </c:ext>
            </c:extLst>
          </c:dPt>
          <c:dPt>
            <c:idx val="11"/>
            <c:invertIfNegative val="1"/>
            <c:bubble3D val="0"/>
            <c:extLst>
              <c:ext xmlns:c16="http://schemas.microsoft.com/office/drawing/2014/chart" uri="{C3380CC4-5D6E-409C-BE32-E72D297353CC}">
                <c16:uniqueId val="{00000017-A2FA-4046-9F96-F8B0F3C1321B}"/>
              </c:ext>
            </c:extLst>
          </c:dPt>
          <c:dPt>
            <c:idx val="12"/>
            <c:invertIfNegative val="1"/>
            <c:bubble3D val="0"/>
            <c:extLst>
              <c:ext xmlns:c16="http://schemas.microsoft.com/office/drawing/2014/chart" uri="{C3380CC4-5D6E-409C-BE32-E72D297353CC}">
                <c16:uniqueId val="{00000019-A2FA-4046-9F96-F8B0F3C1321B}"/>
              </c:ext>
            </c:extLst>
          </c:dPt>
          <c:dPt>
            <c:idx val="13"/>
            <c:invertIfNegative val="1"/>
            <c:bubble3D val="0"/>
            <c:extLst>
              <c:ext xmlns:c16="http://schemas.microsoft.com/office/drawing/2014/chart" uri="{C3380CC4-5D6E-409C-BE32-E72D297353CC}">
                <c16:uniqueId val="{0000001B-A2FA-4046-9F96-F8B0F3C1321B}"/>
              </c:ext>
            </c:extLst>
          </c:dPt>
          <c:dPt>
            <c:idx val="14"/>
            <c:invertIfNegative val="1"/>
            <c:bubble3D val="0"/>
            <c:extLst>
              <c:ext xmlns:c16="http://schemas.microsoft.com/office/drawing/2014/chart" uri="{C3380CC4-5D6E-409C-BE32-E72D297353CC}">
                <c16:uniqueId val="{0000001D-A2FA-4046-9F96-F8B0F3C1321B}"/>
              </c:ext>
            </c:extLst>
          </c:dPt>
          <c:dPt>
            <c:idx val="15"/>
            <c:invertIfNegative val="1"/>
            <c:bubble3D val="0"/>
            <c:extLst>
              <c:ext xmlns:c16="http://schemas.microsoft.com/office/drawing/2014/chart" uri="{C3380CC4-5D6E-409C-BE32-E72D297353CC}">
                <c16:uniqueId val="{0000001F-A2FA-4046-9F96-F8B0F3C1321B}"/>
              </c:ext>
            </c:extLst>
          </c:dPt>
          <c:dPt>
            <c:idx val="16"/>
            <c:invertIfNegative val="1"/>
            <c:bubble3D val="0"/>
            <c:extLst>
              <c:ext xmlns:c16="http://schemas.microsoft.com/office/drawing/2014/chart" uri="{C3380CC4-5D6E-409C-BE32-E72D297353CC}">
                <c16:uniqueId val="{00000021-A2FA-4046-9F96-F8B0F3C1321B}"/>
              </c:ext>
            </c:extLst>
          </c:dPt>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27.5%</a:t>
                    </a:r>
                  </a:p>
                </c:rich>
              </c:tx>
              <c:dLblPos val="ctr"/>
              <c:showLegendKey val="0"/>
              <c:showVal val="1"/>
              <c:showCatName val="0"/>
              <c:showSerName val="0"/>
              <c:showPercent val="0"/>
              <c:showBubbleSize val="0"/>
            </c:dLbl>
            <c:dLbl>
              <c:idx val="2"/>
              <c:tx>
                <c:rich>
                  <a:bodyPr/>
                  <a:lstStyle/>
                  <a:p>
                    <a:pPr>
                      <a:defRPr sz="800">
                        <a:latin typeface="Nexa Book"/>
                      </a:defRPr>
                    </a:pPr>
                    <a:r>
                      <a:t>+19.9%</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0.0</c:v>
                </c:pt>
                <c:pt idx="1">
                  <c:v>0.27530000000000004</c:v>
                </c:pt>
                <c:pt idx="2">
                  <c:v>0.1992</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0-DCEF-4AAE-B747-39856A6177F4}"/>
              </c:ext>
            </c:extLst>
          </c:dPt>
          <c:dPt>
            <c:idx val="1"/>
            <c:invertIfNegative val="1"/>
            <c:bubble3D val="0"/>
            <c:extLst>
              <c:ext xmlns:c16="http://schemas.microsoft.com/office/drawing/2014/chart" uri="{C3380CC4-5D6E-409C-BE32-E72D297353CC}">
                <c16:uniqueId val="{00000003-ECF2-4774-A9B3-59BCC6837E98}"/>
              </c:ext>
            </c:extLst>
          </c:dPt>
          <c:dPt>
            <c:idx val="2"/>
            <c:invertIfNegative val="1"/>
            <c:bubble3D val="0"/>
            <c:extLst>
              <c:ext xmlns:c16="http://schemas.microsoft.com/office/drawing/2014/chart" uri="{C3380CC4-5D6E-409C-BE32-E72D297353CC}">
                <c16:uniqueId val="{00000005-ECF2-4774-A9B3-59BCC6837E98}"/>
              </c:ext>
            </c:extLst>
          </c:dPt>
          <c:dPt>
            <c:idx val="3"/>
            <c:invertIfNegative val="1"/>
            <c:bubble3D val="0"/>
            <c:extLst>
              <c:ext xmlns:c16="http://schemas.microsoft.com/office/drawing/2014/chart" uri="{C3380CC4-5D6E-409C-BE32-E72D297353CC}">
                <c16:uniqueId val="{00000001-DCEF-4AAE-B747-39856A6177F4}"/>
              </c:ext>
            </c:extLst>
          </c:dPt>
          <c:dPt>
            <c:idx val="4"/>
            <c:invertIfNegative val="1"/>
            <c:bubble3D val="0"/>
            <c:extLst>
              <c:ext xmlns:c16="http://schemas.microsoft.com/office/drawing/2014/chart" uri="{C3380CC4-5D6E-409C-BE32-E72D297353CC}">
                <c16:uniqueId val="{00000009-ECF2-4774-A9B3-59BCC6837E98}"/>
              </c:ext>
            </c:extLst>
          </c:dPt>
          <c:dPt>
            <c:idx val="5"/>
            <c:invertIfNegative val="1"/>
            <c:bubble3D val="0"/>
            <c:extLst>
              <c:ext xmlns:c16="http://schemas.microsoft.com/office/drawing/2014/chart" uri="{C3380CC4-5D6E-409C-BE32-E72D297353CC}">
                <c16:uniqueId val="{0000000B-ECF2-4774-A9B3-59BCC6837E98}"/>
              </c:ext>
            </c:extLst>
          </c:dPt>
          <c:dPt>
            <c:idx val="6"/>
            <c:invertIfNegative val="1"/>
            <c:bubble3D val="0"/>
            <c:extLst>
              <c:ext xmlns:c16="http://schemas.microsoft.com/office/drawing/2014/chart" uri="{C3380CC4-5D6E-409C-BE32-E72D297353CC}">
                <c16:uniqueId val="{0000000D-ECF2-4774-A9B3-59BCC6837E98}"/>
              </c:ext>
            </c:extLst>
          </c:dPt>
          <c:dPt>
            <c:idx val="7"/>
            <c:invertIfNegative val="1"/>
            <c:bubble3D val="0"/>
            <c:extLst>
              <c:ext xmlns:c16="http://schemas.microsoft.com/office/drawing/2014/chart" uri="{C3380CC4-5D6E-409C-BE32-E72D297353CC}">
                <c16:uniqueId val="{00000002-DCEF-4AAE-B747-39856A6177F4}"/>
              </c:ext>
            </c:extLst>
          </c:dPt>
          <c:dPt>
            <c:idx val="8"/>
            <c:invertIfNegative val="1"/>
            <c:bubble3D val="0"/>
            <c:extLst>
              <c:ext xmlns:c16="http://schemas.microsoft.com/office/drawing/2014/chart" uri="{C3380CC4-5D6E-409C-BE32-E72D297353CC}">
                <c16:uniqueId val="{00000011-ECF2-4774-A9B3-59BCC6837E98}"/>
              </c:ext>
            </c:extLst>
          </c:dPt>
          <c:dPt>
            <c:idx val="9"/>
            <c:invertIfNegative val="1"/>
            <c:bubble3D val="0"/>
            <c:extLst>
              <c:ext xmlns:c16="http://schemas.microsoft.com/office/drawing/2014/chart" uri="{C3380CC4-5D6E-409C-BE32-E72D297353CC}">
                <c16:uniqueId val="{00000013-ECF2-4774-A9B3-59BCC6837E98}"/>
              </c:ext>
            </c:extLst>
          </c:dPt>
          <c:dPt>
            <c:idx val="10"/>
            <c:invertIfNegative val="1"/>
            <c:bubble3D val="0"/>
            <c:extLst>
              <c:ext xmlns:c16="http://schemas.microsoft.com/office/drawing/2014/chart" uri="{C3380CC4-5D6E-409C-BE32-E72D297353CC}">
                <c16:uniqueId val="{00000015-ECF2-4774-A9B3-59BCC6837E98}"/>
              </c:ext>
            </c:extLst>
          </c:dPt>
          <c:dPt>
            <c:idx val="11"/>
            <c:invertIfNegative val="1"/>
            <c:bubble3D val="0"/>
            <c:extLst>
              <c:ext xmlns:c16="http://schemas.microsoft.com/office/drawing/2014/chart" uri="{C3380CC4-5D6E-409C-BE32-E72D297353CC}">
                <c16:uniqueId val="{00000017-ECF2-4774-A9B3-59BCC6837E98}"/>
              </c:ext>
            </c:extLst>
          </c:dPt>
          <c:dPt>
            <c:idx val="12"/>
            <c:invertIfNegative val="1"/>
            <c:bubble3D val="0"/>
            <c:extLst>
              <c:ext xmlns:c16="http://schemas.microsoft.com/office/drawing/2014/chart" uri="{C3380CC4-5D6E-409C-BE32-E72D297353CC}">
                <c16:uniqueId val="{00000019-ECF2-4774-A9B3-59BCC6837E98}"/>
              </c:ext>
            </c:extLst>
          </c:dPt>
          <c:dPt>
            <c:idx val="13"/>
            <c:invertIfNegative val="1"/>
            <c:bubble3D val="0"/>
            <c:extLst>
              <c:ext xmlns:c16="http://schemas.microsoft.com/office/drawing/2014/chart" uri="{C3380CC4-5D6E-409C-BE32-E72D297353CC}">
                <c16:uniqueId val="{0000001B-ECF2-4774-A9B3-59BCC6837E98}"/>
              </c:ext>
            </c:extLst>
          </c:dPt>
          <c:dPt>
            <c:idx val="14"/>
            <c:invertIfNegative val="1"/>
            <c:bubble3D val="0"/>
            <c:extLst>
              <c:ext xmlns:c16="http://schemas.microsoft.com/office/drawing/2014/chart" uri="{C3380CC4-5D6E-409C-BE32-E72D297353CC}">
                <c16:uniqueId val="{0000001D-ECF2-4774-A9B3-59BCC6837E98}"/>
              </c:ext>
            </c:extLst>
          </c:dPt>
          <c:dPt>
            <c:idx val="15"/>
            <c:invertIfNegative val="1"/>
            <c:bubble3D val="0"/>
            <c:extLst>
              <c:ext xmlns:c16="http://schemas.microsoft.com/office/drawing/2014/chart" uri="{C3380CC4-5D6E-409C-BE32-E72D297353CC}">
                <c16:uniqueId val="{0000001F-ECF2-4774-A9B3-59BCC6837E98}"/>
              </c:ext>
            </c:extLst>
          </c:dPt>
          <c:dPt>
            <c:idx val="16"/>
            <c:invertIfNegative val="1"/>
            <c:bubble3D val="0"/>
            <c:extLst>
              <c:ext xmlns:c16="http://schemas.microsoft.com/office/drawing/2014/chart" uri="{C3380CC4-5D6E-409C-BE32-E72D297353CC}">
                <c16:uniqueId val="{00000021-ECF2-4774-A9B3-59BCC6837E98}"/>
              </c:ext>
            </c:extLst>
          </c:dPt>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24.0%</a:t>
                    </a:r>
                  </a:p>
                </c:rich>
              </c:tx>
              <c:dLblPos val="ctr"/>
              <c:showLegendKey val="0"/>
              <c:showVal val="1"/>
              <c:showCatName val="0"/>
              <c:showSerName val="0"/>
              <c:showPercent val="0"/>
              <c:showBubbleSize val="0"/>
            </c:dLbl>
            <c:dLbl>
              <c:idx val="2"/>
              <c:tx>
                <c:rich>
                  <a:bodyPr/>
                  <a:lstStyle/>
                  <a:p>
                    <a:pPr>
                      <a:defRPr sz="800">
                        <a:latin typeface="Nexa Book"/>
                      </a:defRPr>
                    </a:pPr>
                    <a:r>
                      <a:t>+9.4%</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0.0</c:v>
                </c:pt>
                <c:pt idx="1">
                  <c:v>0.24009999999999998</c:v>
                </c:pt>
                <c:pt idx="2">
                  <c:v>0.09449999999999997</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Trade WoB %</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58.7 %</a:t>
                    </a:r>
                  </a:p>
                </c:rich>
              </c:tx>
              <c:dLblPos val="ctr"/>
              <c:showLegendKey val="0"/>
              <c:showVal val="1"/>
              <c:showCatName val="0"/>
              <c:showSerName val="0"/>
              <c:showPercent val="0"/>
              <c:showBubbleSize val="0"/>
            </c:dLbl>
            <c:dLbl>
              <c:idx val="2"/>
              <c:tx>
                <c:rich>
                  <a:bodyPr/>
                  <a:lstStyle/>
                  <a:p>
                    <a:pPr>
                      <a:defRPr sz="800">
                        <a:latin typeface="Nexa Book"/>
                      </a:defRPr>
                    </a:pPr>
                    <a:r>
                      <a:t>41.3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1.0</c:v>
                </c:pt>
                <c:pt idx="1">
                  <c:v>0.5872</c:v>
                </c:pt>
                <c:pt idx="2">
                  <c:v>0.4128</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Trade WoB %</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dLbl>
              <c:idx val="0"/>
              <c:tx>
                <c:rich>
                  <a:bodyPr/>
                  <a:lstStyle/>
                  <a:p>
                    <a:pPr>
                      <a:defRPr sz="800">
                        <a:latin typeface="Nexa Book"/>
                      </a:defRPr>
                    </a:pPr>
                    <a:r>
                      <a:t>100.0 %</a:t>
                    </a:r>
                  </a:p>
                </c:rich>
              </c:tx>
              <c:dLblPos val="ctr"/>
              <c:showLegendKey val="0"/>
              <c:showVal val="1"/>
              <c:showCatName val="0"/>
              <c:showSerName val="0"/>
              <c:showPercent val="0"/>
              <c:showBubbleSize val="0"/>
            </c:dLbl>
            <c:dLbl>
              <c:idx val="1"/>
              <c:tx>
                <c:rich>
                  <a:bodyPr/>
                  <a:lstStyle/>
                  <a:p>
                    <a:pPr>
                      <a:defRPr sz="800">
                        <a:latin typeface="Nexa Book"/>
                      </a:defRPr>
                    </a:pPr>
                    <a:r>
                      <a:t>62.5 %</a:t>
                    </a:r>
                  </a:p>
                </c:rich>
              </c:tx>
              <c:dLblPos val="ctr"/>
              <c:showLegendKey val="0"/>
              <c:showVal val="1"/>
              <c:showCatName val="0"/>
              <c:showSerName val="0"/>
              <c:showPercent val="0"/>
              <c:showBubbleSize val="0"/>
            </c:dLbl>
            <c:dLbl>
              <c:idx val="2"/>
              <c:tx>
                <c:rich>
                  <a:bodyPr/>
                  <a:lstStyle/>
                  <a:p>
                    <a:pPr>
                      <a:defRPr sz="800">
                        <a:latin typeface="Nexa Book"/>
                      </a:defRPr>
                    </a:pPr>
                    <a:r>
                      <a:t>37.5 %</a:t>
                    </a:r>
                  </a:p>
                </c:rich>
              </c:tx>
              <c:dLblPos val="ctr"/>
              <c:showLegendKey val="0"/>
              <c:showVal val="1"/>
              <c:showCatName val="0"/>
              <c:showSerName val="0"/>
              <c:showPercent val="0"/>
              <c:showBubbleSize val="0"/>
            </c:dLbl>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1.0</c:v>
                </c:pt>
                <c:pt idx="1">
                  <c:v>0.6254</c:v>
                </c:pt>
                <c:pt idx="2">
                  <c:v>0.374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dLbl>
              <c:idx val="0"/>
              <c:tx>
                <c:rich>
                  <a:bodyPr/>
                  <a:lstStyle/>
                  <a:p>
                    <a:pPr>
                      <a:defRPr sz="800">
                        <a:latin typeface="Nexa Book"/>
                      </a:defRPr>
                    </a:pPr>
                    <a:r>
                      <a:t>136</a:t>
                    </a:r>
                  </a:p>
                </c:rich>
              </c:tx>
              <c:dLblPos val="ctr"/>
              <c:showLegendKey val="0"/>
              <c:showVal val="1"/>
              <c:showCatName val="0"/>
              <c:showSerName val="0"/>
              <c:showPercent val="0"/>
              <c:showBubbleSize val="0"/>
            </c:dLbl>
            <c:dLbl>
              <c:idx val="1"/>
              <c:tx>
                <c:rich>
                  <a:bodyPr/>
                  <a:lstStyle/>
                  <a:p>
                    <a:pPr>
                      <a:defRPr sz="800">
                        <a:latin typeface="Nexa Book"/>
                      </a:defRPr>
                    </a:pPr>
                    <a:r>
                      <a:t>80</a:t>
                    </a:r>
                  </a:p>
                </c:rich>
              </c:tx>
              <c:dLblPos val="ctr"/>
              <c:showLegendKey val="0"/>
              <c:showVal val="1"/>
              <c:showCatName val="0"/>
              <c:showSerName val="0"/>
              <c:showPercent val="0"/>
              <c:showBubbleSize val="0"/>
            </c:dLbl>
            <c:dLbl>
              <c:idx val="2"/>
              <c:tx>
                <c:rich>
                  <a:bodyPr/>
                  <a:lstStyle/>
                  <a:p>
                    <a:pPr>
                      <a:defRPr sz="800">
                        <a:latin typeface="Nexa Book"/>
                      </a:defRPr>
                    </a:pPr>
                    <a:r>
                      <a:t>56</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136013747.0</c:v>
                </c:pt>
                <c:pt idx="1">
                  <c:v>79861894.0</c:v>
                </c:pt>
                <c:pt idx="2">
                  <c:v>56151853.0</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ales</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dLbl>
              <c:idx val="0"/>
              <c:tx>
                <c:rich>
                  <a:bodyPr/>
                  <a:lstStyle/>
                  <a:p>
                    <a:pPr>
                      <a:defRPr sz="800">
                        <a:latin typeface="Nexa Book"/>
                      </a:defRPr>
                    </a:pPr>
                    <a:r>
                      <a:t>2</a:t>
                    </a:r>
                  </a:p>
                </c:rich>
              </c:tx>
              <c:dLblPos val="ctr"/>
              <c:showLegendKey val="0"/>
              <c:showVal val="1"/>
              <c:showCatName val="0"/>
              <c:showSerName val="0"/>
              <c:showPercent val="0"/>
              <c:showBubbleSize val="0"/>
            </c:dLbl>
            <c:dLbl>
              <c:idx val="1"/>
              <c:tx>
                <c:rich>
                  <a:bodyPr/>
                  <a:lstStyle/>
                  <a:p>
                    <a:pPr>
                      <a:defRPr sz="800">
                        <a:latin typeface="Nexa Book"/>
                      </a:defRPr>
                    </a:pPr>
                    <a:r>
                      <a:t>1</a:t>
                    </a:r>
                  </a:p>
                </c:rich>
              </c:tx>
              <c:dLblPos val="ctr"/>
              <c:showLegendKey val="0"/>
              <c:showVal val="1"/>
              <c:showCatName val="0"/>
              <c:showSerName val="0"/>
              <c:showPercent val="0"/>
              <c:showBubbleSize val="0"/>
            </c:dLbl>
            <c:dLbl>
              <c:idx val="2"/>
              <c:tx>
                <c:rich>
                  <a:bodyPr/>
                  <a:lstStyle/>
                  <a:p>
                    <a:pPr>
                      <a:defRPr sz="800">
                        <a:latin typeface="Nexa Book"/>
                      </a:defRPr>
                    </a:pPr>
                    <a:r>
                      <a:t>1</a:t>
                    </a:r>
                  </a:p>
                </c:rich>
              </c:tx>
              <c:dLblPos val="ctr"/>
              <c:showLegendKey val="0"/>
              <c:showVal val="1"/>
              <c:showCatName val="0"/>
              <c:showSerName val="0"/>
              <c:showPercent val="0"/>
              <c:showBubbleSize val="0"/>
            </c:dLbl>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2061476.0</c:v>
                </c:pt>
                <c:pt idx="1">
                  <c:v>1289340.0</c:v>
                </c:pt>
                <c:pt idx="2">
                  <c:v>772136.0</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1-2960-4508-BA80-9CD1D30EF006}"/>
              </c:ext>
            </c:extLst>
          </c:dPt>
          <c:dPt>
            <c:idx val="1"/>
            <c:invertIfNegative val="1"/>
            <c:bubble3D val="0"/>
            <c:extLst>
              <c:ext xmlns:c16="http://schemas.microsoft.com/office/drawing/2014/chart" uri="{C3380CC4-5D6E-409C-BE32-E72D297353CC}">
                <c16:uniqueId val="{00000003-A2FA-4046-9F96-F8B0F3C1321B}"/>
              </c:ext>
            </c:extLst>
          </c:dPt>
          <c:dPt>
            <c:idx val="2"/>
            <c:invertIfNegative val="1"/>
            <c:bubble3D val="0"/>
            <c:extLst>
              <c:ext xmlns:c16="http://schemas.microsoft.com/office/drawing/2014/chart" uri="{C3380CC4-5D6E-409C-BE32-E72D297353CC}">
                <c16:uniqueId val="{00000005-A2FA-4046-9F96-F8B0F3C1321B}"/>
              </c:ext>
            </c:extLst>
          </c:dPt>
          <c:dPt>
            <c:idx val="3"/>
            <c:invertIfNegative val="1"/>
            <c:bubble3D val="0"/>
            <c:extLst>
              <c:ext xmlns:c16="http://schemas.microsoft.com/office/drawing/2014/chart" uri="{C3380CC4-5D6E-409C-BE32-E72D297353CC}">
                <c16:uniqueId val="{00000002-2960-4508-BA80-9CD1D30EF006}"/>
              </c:ext>
            </c:extLst>
          </c:dPt>
          <c:dPt>
            <c:idx val="4"/>
            <c:invertIfNegative val="1"/>
            <c:bubble3D val="0"/>
            <c:extLst>
              <c:ext xmlns:c16="http://schemas.microsoft.com/office/drawing/2014/chart" uri="{C3380CC4-5D6E-409C-BE32-E72D297353CC}">
                <c16:uniqueId val="{00000009-A2FA-4046-9F96-F8B0F3C1321B}"/>
              </c:ext>
            </c:extLst>
          </c:dPt>
          <c:dPt>
            <c:idx val="5"/>
            <c:invertIfNegative val="1"/>
            <c:bubble3D val="0"/>
            <c:extLst>
              <c:ext xmlns:c16="http://schemas.microsoft.com/office/drawing/2014/chart" uri="{C3380CC4-5D6E-409C-BE32-E72D297353CC}">
                <c16:uniqueId val="{0000000B-A2FA-4046-9F96-F8B0F3C1321B}"/>
              </c:ext>
            </c:extLst>
          </c:dPt>
          <c:dPt>
            <c:idx val="6"/>
            <c:invertIfNegative val="1"/>
            <c:bubble3D val="0"/>
            <c:extLst>
              <c:ext xmlns:c16="http://schemas.microsoft.com/office/drawing/2014/chart" uri="{C3380CC4-5D6E-409C-BE32-E72D297353CC}">
                <c16:uniqueId val="{0000000D-A2FA-4046-9F96-F8B0F3C1321B}"/>
              </c:ext>
            </c:extLst>
          </c:dPt>
          <c:dPt>
            <c:idx val="7"/>
            <c:invertIfNegative val="1"/>
            <c:bubble3D val="0"/>
            <c:extLst>
              <c:ext xmlns:c16="http://schemas.microsoft.com/office/drawing/2014/chart" uri="{C3380CC4-5D6E-409C-BE32-E72D297353CC}">
                <c16:uniqueId val="{00000000-2960-4508-BA80-9CD1D30EF006}"/>
              </c:ext>
            </c:extLst>
          </c:dPt>
          <c:dPt>
            <c:idx val="8"/>
            <c:invertIfNegative val="1"/>
            <c:bubble3D val="0"/>
            <c:extLst>
              <c:ext xmlns:c16="http://schemas.microsoft.com/office/drawing/2014/chart" uri="{C3380CC4-5D6E-409C-BE32-E72D297353CC}">
                <c16:uniqueId val="{00000011-A2FA-4046-9F96-F8B0F3C1321B}"/>
              </c:ext>
            </c:extLst>
          </c:dPt>
          <c:dPt>
            <c:idx val="9"/>
            <c:invertIfNegative val="1"/>
            <c:bubble3D val="0"/>
            <c:extLst>
              <c:ext xmlns:c16="http://schemas.microsoft.com/office/drawing/2014/chart" uri="{C3380CC4-5D6E-409C-BE32-E72D297353CC}">
                <c16:uniqueId val="{00000013-A2FA-4046-9F96-F8B0F3C1321B}"/>
              </c:ext>
            </c:extLst>
          </c:dPt>
          <c:dPt>
            <c:idx val="10"/>
            <c:invertIfNegative val="1"/>
            <c:bubble3D val="0"/>
            <c:extLst>
              <c:ext xmlns:c16="http://schemas.microsoft.com/office/drawing/2014/chart" uri="{C3380CC4-5D6E-409C-BE32-E72D297353CC}">
                <c16:uniqueId val="{00000015-A2FA-4046-9F96-F8B0F3C1321B}"/>
              </c:ext>
            </c:extLst>
          </c:dPt>
          <c:dPt>
            <c:idx val="11"/>
            <c:invertIfNegative val="1"/>
            <c:bubble3D val="0"/>
            <c:extLst>
              <c:ext xmlns:c16="http://schemas.microsoft.com/office/drawing/2014/chart" uri="{C3380CC4-5D6E-409C-BE32-E72D297353CC}">
                <c16:uniqueId val="{00000017-A2FA-4046-9F96-F8B0F3C1321B}"/>
              </c:ext>
            </c:extLst>
          </c:dPt>
          <c:dPt>
            <c:idx val="12"/>
            <c:invertIfNegative val="1"/>
            <c:bubble3D val="0"/>
            <c:extLst>
              <c:ext xmlns:c16="http://schemas.microsoft.com/office/drawing/2014/chart" uri="{C3380CC4-5D6E-409C-BE32-E72D297353CC}">
                <c16:uniqueId val="{00000019-A2FA-4046-9F96-F8B0F3C1321B}"/>
              </c:ext>
            </c:extLst>
          </c:dPt>
          <c:dPt>
            <c:idx val="13"/>
            <c:invertIfNegative val="1"/>
            <c:bubble3D val="0"/>
            <c:extLst>
              <c:ext xmlns:c16="http://schemas.microsoft.com/office/drawing/2014/chart" uri="{C3380CC4-5D6E-409C-BE32-E72D297353CC}">
                <c16:uniqueId val="{0000001B-A2FA-4046-9F96-F8B0F3C1321B}"/>
              </c:ext>
            </c:extLst>
          </c:dPt>
          <c:dPt>
            <c:idx val="14"/>
            <c:invertIfNegative val="1"/>
            <c:bubble3D val="0"/>
            <c:extLst>
              <c:ext xmlns:c16="http://schemas.microsoft.com/office/drawing/2014/chart" uri="{C3380CC4-5D6E-409C-BE32-E72D297353CC}">
                <c16:uniqueId val="{0000001D-A2FA-4046-9F96-F8B0F3C1321B}"/>
              </c:ext>
            </c:extLst>
          </c:dPt>
          <c:dPt>
            <c:idx val="15"/>
            <c:invertIfNegative val="1"/>
            <c:bubble3D val="0"/>
            <c:extLst>
              <c:ext xmlns:c16="http://schemas.microsoft.com/office/drawing/2014/chart" uri="{C3380CC4-5D6E-409C-BE32-E72D297353CC}">
                <c16:uniqueId val="{0000001F-A2FA-4046-9F96-F8B0F3C1321B}"/>
              </c:ext>
            </c:extLst>
          </c:dPt>
          <c:dPt>
            <c:idx val="16"/>
            <c:invertIfNegative val="1"/>
            <c:bubble3D val="0"/>
            <c:extLst>
              <c:ext xmlns:c16="http://schemas.microsoft.com/office/drawing/2014/chart" uri="{C3380CC4-5D6E-409C-BE32-E72D297353CC}">
                <c16:uniqueId val="{00000021-A2FA-4046-9F96-F8B0F3C1321B}"/>
              </c:ext>
            </c:extLst>
          </c:dPt>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27.5%</a:t>
                    </a:r>
                  </a:p>
                </c:rich>
              </c:tx>
              <c:dLblPos val="ctr"/>
              <c:showLegendKey val="0"/>
              <c:showVal val="1"/>
              <c:showCatName val="0"/>
              <c:showSerName val="0"/>
              <c:showPercent val="0"/>
              <c:showBubbleSize val="0"/>
            </c:dLbl>
            <c:dLbl>
              <c:idx val="2"/>
              <c:tx>
                <c:rich>
                  <a:bodyPr/>
                  <a:lstStyle/>
                  <a:p>
                    <a:pPr>
                      <a:defRPr sz="800">
                        <a:latin typeface="Nexa Book"/>
                      </a:defRPr>
                    </a:pPr>
                    <a:r>
                      <a:t>+19.9%</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0.0</c:v>
                </c:pt>
                <c:pt idx="1">
                  <c:v>0.27530000000000004</c:v>
                </c:pt>
                <c:pt idx="2">
                  <c:v>0.1992</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9</c:f>
              <c:numCache>
                <c:formatCode>General</c:formatCode>
                <c:ptCount val="8"/>
                <c:pt idx="0">
                  <c:v>0.012534079846822976</c:v>
                </c:pt>
                <c:pt idx="1">
                  <c:v>-0.015809296285546587</c:v>
                </c:pt>
                <c:pt idx="2">
                  <c:v>0.0009449233150432695</c:v>
                </c:pt>
                <c:pt idx="3">
                  <c:v>-0.013642223136867512</c:v>
                </c:pt>
                <c:pt idx="4">
                  <c:v>0.0007952215817181238</c:v>
                </c:pt>
                <c:pt idx="5">
                  <c:v>-0.003962567718783762</c:v>
                </c:pt>
                <c:pt idx="6">
                  <c:v>0.011819860389618268</c:v>
                </c:pt>
                <c:pt idx="7">
                  <c:v>0.0073200020079952684</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Trade WoB %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0-DCEF-4AAE-B747-39856A6177F4}"/>
              </c:ext>
            </c:extLst>
          </c:dPt>
          <c:dPt>
            <c:idx val="1"/>
            <c:invertIfNegative val="1"/>
            <c:bubble3D val="0"/>
            <c:extLst>
              <c:ext xmlns:c16="http://schemas.microsoft.com/office/drawing/2014/chart" uri="{C3380CC4-5D6E-409C-BE32-E72D297353CC}">
                <c16:uniqueId val="{00000003-ECF2-4774-A9B3-59BCC6837E98}"/>
              </c:ext>
            </c:extLst>
          </c:dPt>
          <c:dPt>
            <c:idx val="2"/>
            <c:invertIfNegative val="1"/>
            <c:bubble3D val="0"/>
            <c:extLst>
              <c:ext xmlns:c16="http://schemas.microsoft.com/office/drawing/2014/chart" uri="{C3380CC4-5D6E-409C-BE32-E72D297353CC}">
                <c16:uniqueId val="{00000005-ECF2-4774-A9B3-59BCC6837E98}"/>
              </c:ext>
            </c:extLst>
          </c:dPt>
          <c:dPt>
            <c:idx val="3"/>
            <c:invertIfNegative val="1"/>
            <c:bubble3D val="0"/>
            <c:extLst>
              <c:ext xmlns:c16="http://schemas.microsoft.com/office/drawing/2014/chart" uri="{C3380CC4-5D6E-409C-BE32-E72D297353CC}">
                <c16:uniqueId val="{00000001-DCEF-4AAE-B747-39856A6177F4}"/>
              </c:ext>
            </c:extLst>
          </c:dPt>
          <c:dPt>
            <c:idx val="4"/>
            <c:invertIfNegative val="1"/>
            <c:bubble3D val="0"/>
            <c:extLst>
              <c:ext xmlns:c16="http://schemas.microsoft.com/office/drawing/2014/chart" uri="{C3380CC4-5D6E-409C-BE32-E72D297353CC}">
                <c16:uniqueId val="{00000009-ECF2-4774-A9B3-59BCC6837E98}"/>
              </c:ext>
            </c:extLst>
          </c:dPt>
          <c:dPt>
            <c:idx val="5"/>
            <c:invertIfNegative val="1"/>
            <c:bubble3D val="0"/>
            <c:extLst>
              <c:ext xmlns:c16="http://schemas.microsoft.com/office/drawing/2014/chart" uri="{C3380CC4-5D6E-409C-BE32-E72D297353CC}">
                <c16:uniqueId val="{0000000B-ECF2-4774-A9B3-59BCC6837E98}"/>
              </c:ext>
            </c:extLst>
          </c:dPt>
          <c:dPt>
            <c:idx val="6"/>
            <c:invertIfNegative val="1"/>
            <c:bubble3D val="0"/>
            <c:extLst>
              <c:ext xmlns:c16="http://schemas.microsoft.com/office/drawing/2014/chart" uri="{C3380CC4-5D6E-409C-BE32-E72D297353CC}">
                <c16:uniqueId val="{0000000D-ECF2-4774-A9B3-59BCC6837E98}"/>
              </c:ext>
            </c:extLst>
          </c:dPt>
          <c:dPt>
            <c:idx val="7"/>
            <c:invertIfNegative val="1"/>
            <c:bubble3D val="0"/>
            <c:extLst>
              <c:ext xmlns:c16="http://schemas.microsoft.com/office/drawing/2014/chart" uri="{C3380CC4-5D6E-409C-BE32-E72D297353CC}">
                <c16:uniqueId val="{00000002-DCEF-4AAE-B747-39856A6177F4}"/>
              </c:ext>
            </c:extLst>
          </c:dPt>
          <c:dPt>
            <c:idx val="8"/>
            <c:invertIfNegative val="1"/>
            <c:bubble3D val="0"/>
            <c:extLst>
              <c:ext xmlns:c16="http://schemas.microsoft.com/office/drawing/2014/chart" uri="{C3380CC4-5D6E-409C-BE32-E72D297353CC}">
                <c16:uniqueId val="{00000011-ECF2-4774-A9B3-59BCC6837E98}"/>
              </c:ext>
            </c:extLst>
          </c:dPt>
          <c:dPt>
            <c:idx val="9"/>
            <c:invertIfNegative val="1"/>
            <c:bubble3D val="0"/>
            <c:extLst>
              <c:ext xmlns:c16="http://schemas.microsoft.com/office/drawing/2014/chart" uri="{C3380CC4-5D6E-409C-BE32-E72D297353CC}">
                <c16:uniqueId val="{00000013-ECF2-4774-A9B3-59BCC6837E98}"/>
              </c:ext>
            </c:extLst>
          </c:dPt>
          <c:dPt>
            <c:idx val="10"/>
            <c:invertIfNegative val="1"/>
            <c:bubble3D val="0"/>
            <c:extLst>
              <c:ext xmlns:c16="http://schemas.microsoft.com/office/drawing/2014/chart" uri="{C3380CC4-5D6E-409C-BE32-E72D297353CC}">
                <c16:uniqueId val="{00000015-ECF2-4774-A9B3-59BCC6837E98}"/>
              </c:ext>
            </c:extLst>
          </c:dPt>
          <c:dPt>
            <c:idx val="11"/>
            <c:invertIfNegative val="1"/>
            <c:bubble3D val="0"/>
            <c:extLst>
              <c:ext xmlns:c16="http://schemas.microsoft.com/office/drawing/2014/chart" uri="{C3380CC4-5D6E-409C-BE32-E72D297353CC}">
                <c16:uniqueId val="{00000017-ECF2-4774-A9B3-59BCC6837E98}"/>
              </c:ext>
            </c:extLst>
          </c:dPt>
          <c:dPt>
            <c:idx val="12"/>
            <c:invertIfNegative val="1"/>
            <c:bubble3D val="0"/>
            <c:extLst>
              <c:ext xmlns:c16="http://schemas.microsoft.com/office/drawing/2014/chart" uri="{C3380CC4-5D6E-409C-BE32-E72D297353CC}">
                <c16:uniqueId val="{00000019-ECF2-4774-A9B3-59BCC6837E98}"/>
              </c:ext>
            </c:extLst>
          </c:dPt>
          <c:dPt>
            <c:idx val="13"/>
            <c:invertIfNegative val="1"/>
            <c:bubble3D val="0"/>
            <c:extLst>
              <c:ext xmlns:c16="http://schemas.microsoft.com/office/drawing/2014/chart" uri="{C3380CC4-5D6E-409C-BE32-E72D297353CC}">
                <c16:uniqueId val="{0000001B-ECF2-4774-A9B3-59BCC6837E98}"/>
              </c:ext>
            </c:extLst>
          </c:dPt>
          <c:dPt>
            <c:idx val="14"/>
            <c:invertIfNegative val="1"/>
            <c:bubble3D val="0"/>
            <c:extLst>
              <c:ext xmlns:c16="http://schemas.microsoft.com/office/drawing/2014/chart" uri="{C3380CC4-5D6E-409C-BE32-E72D297353CC}">
                <c16:uniqueId val="{0000001D-ECF2-4774-A9B3-59BCC6837E98}"/>
              </c:ext>
            </c:extLst>
          </c:dPt>
          <c:dPt>
            <c:idx val="15"/>
            <c:invertIfNegative val="1"/>
            <c:bubble3D val="0"/>
            <c:extLst>
              <c:ext xmlns:c16="http://schemas.microsoft.com/office/drawing/2014/chart" uri="{C3380CC4-5D6E-409C-BE32-E72D297353CC}">
                <c16:uniqueId val="{0000001F-ECF2-4774-A9B3-59BCC6837E98}"/>
              </c:ext>
            </c:extLst>
          </c:dPt>
          <c:dPt>
            <c:idx val="16"/>
            <c:invertIfNegative val="1"/>
            <c:bubble3D val="0"/>
            <c:extLst>
              <c:ext xmlns:c16="http://schemas.microsoft.com/office/drawing/2014/chart" uri="{C3380CC4-5D6E-409C-BE32-E72D297353CC}">
                <c16:uniqueId val="{00000021-ECF2-4774-A9B3-59BCC6837E98}"/>
              </c:ext>
            </c:extLst>
          </c:dPt>
          <c:dLbls>
            <c:dLbl>
              <c:idx val="0"/>
              <c:tx>
                <c:rich>
                  <a:bodyPr/>
                  <a:lstStyle/>
                  <a:p>
                    <a:pPr>
                      <a:defRPr sz="800">
                        <a:latin typeface="Nexa Book"/>
                      </a:defRPr>
                    </a:pPr>
                  </a:p>
                </c:rich>
              </c:tx>
              <c:dLblPos val="ctr"/>
              <c:showLegendKey val="0"/>
              <c:showVal val="1"/>
              <c:showCatName val="0"/>
              <c:showSerName val="0"/>
              <c:showPercent val="0"/>
              <c:showBubbleSize val="0"/>
            </c:dLbl>
            <c:dLbl>
              <c:idx val="1"/>
              <c:tx>
                <c:rich>
                  <a:bodyPr/>
                  <a:lstStyle/>
                  <a:p>
                    <a:pPr>
                      <a:defRPr sz="800">
                        <a:latin typeface="Nexa Book"/>
                      </a:defRPr>
                    </a:pPr>
                    <a:r>
                      <a:t>+24.0%</a:t>
                    </a:r>
                  </a:p>
                </c:rich>
              </c:tx>
              <c:dLblPos val="ctr"/>
              <c:showLegendKey val="0"/>
              <c:showVal val="1"/>
              <c:showCatName val="0"/>
              <c:showSerName val="0"/>
              <c:showPercent val="0"/>
              <c:showBubbleSize val="0"/>
            </c:dLbl>
            <c:dLbl>
              <c:idx val="2"/>
              <c:tx>
                <c:rich>
                  <a:bodyPr/>
                  <a:lstStyle/>
                  <a:p>
                    <a:pPr>
                      <a:defRPr sz="800">
                        <a:latin typeface="Nexa Book"/>
                      </a:defRPr>
                    </a:pPr>
                    <a:r>
                      <a:t>+9.4%</a:t>
                    </a:r>
                  </a:p>
                </c:rich>
              </c:tx>
              <c:dLblPos val="ctr"/>
              <c:showLegendKey val="0"/>
              <c:showVal val="1"/>
              <c:showCatName val="0"/>
              <c:showSerName val="0"/>
              <c:showPercent val="0"/>
              <c:showBubbleSize val="0"/>
            </c:dLbl>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rand Total</c:v>
                </c:pt>
                <c:pt idx="1">
                  <c:v>Carrefour</c:v>
                </c:pt>
                <c:pt idx="2">
                  <c:v>Intermarche</c:v>
                </c:pt>
              </c:strCache>
            </c:strRef>
          </c:cat>
          <c:val>
            <c:numRef>
              <c:f>Sheet1!$B$2:$B$4</c:f>
              <c:numCache>
                <c:formatCode>General</c:formatCode>
                <c:ptCount val="3"/>
                <c:pt idx="0">
                  <c:v>0.0</c:v>
                </c:pt>
                <c:pt idx="1">
                  <c:v>0.24009999999999998</c:v>
                </c:pt>
                <c:pt idx="2">
                  <c:v>0.09449999999999997</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374238658678002E-2"/>
          <c:y val="3.5678372632186241E-2"/>
          <c:w val="0.92883189647221065"/>
          <c:h val="0.87708287481703862"/>
        </c:manualLayout>
      </c:layout>
      <c:bubbleChart>
        <c:varyColors val="0"/>
        <c:ser>
          <c:idx val="0"/>
          <c:order val="0"/>
          <c:tx>
            <c:strRef>
              <c:f>Sheet1!$B$1</c:f>
              <c:strCache>
                <c:ptCount val="1"/>
                <c:pt idx="0">
                  <c:v>P3M Value Share</c:v>
                </c:pt>
              </c:strCache>
            </c:strRef>
          </c:tx>
          <c:spPr>
            <a:solidFill>
              <a:schemeClr val="bg1"/>
            </a:solidFill>
            <a:ln w="3175">
              <a:solidFill>
                <a:schemeClr val="tx2"/>
              </a:solidFill>
            </a:ln>
            <a:effectLst/>
          </c:spPr>
          <c:invertIfNegative val="0"/>
          <c:dPt>
            <c:idx val="2"/>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2-C625-D64F-9EE6-A56E35D3C48D}"/>
              </c:ext>
            </c:extLst>
          </c:dPt>
          <c:dPt>
            <c:idx val="3"/>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3-C625-D64F-9EE6-A56E35D3C48D}"/>
              </c:ext>
            </c:extLst>
          </c:dPt>
          <c:dLbls>
            <c:dLbl>
              <c:idx val="0"/>
              <c:tx>
                <c:rich>
                  <a:bodyPr/>
                  <a:lstStyle/>
                  <a:p>
                    <a:fld id="{14337775-CE97-47A5-995A-D8F28FF725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625-D64F-9EE6-A56E35D3C48D}"/>
                </c:ext>
              </c:extLst>
            </c:dLbl>
            <c:dLbl>
              <c:idx val="1"/>
              <c:tx>
                <c:rich>
                  <a:bodyPr/>
                  <a:lstStyle/>
                  <a:p>
                    <a:fld id="{E81DA776-B393-481D-ACC5-C39C325A96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25-D64F-9EE6-A56E35D3C48D}"/>
                </c:ext>
              </c:extLst>
            </c:dLbl>
            <c:dLbl>
              <c:idx val="2"/>
              <c:tx>
                <c:rich>
                  <a:bodyPr/>
                  <a:lstStyle/>
                  <a:p>
                    <a:fld id="{08420319-A553-43B8-9B1C-9377E96509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25-D64F-9EE6-A56E35D3C48D}"/>
                </c:ext>
              </c:extLst>
            </c:dLbl>
            <c:dLbl>
              <c:idx val="3"/>
              <c:tx>
                <c:rich>
                  <a:bodyPr/>
                  <a:lstStyle/>
                  <a:p>
                    <a:fld id="{71B0A401-CA86-457C-92D5-7032822E2A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25-D64F-9EE6-A56E35D3C48D}"/>
                </c:ext>
              </c:extLst>
            </c:dLbl>
            <c:dLbl>
              <c:idx val="4"/>
              <c:tx>
                <c:rich>
                  <a:bodyPr/>
                  <a:lstStyle/>
                  <a:p>
                    <a:fld id="{4624EA6D-00CB-401B-9656-EB6A615353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2B3-43D4-BD21-895ACA67225E}"/>
                </c:ext>
              </c:extLst>
            </c:dLbl>
            <c:dLbl>
              <c:idx val="5"/>
              <c:tx>
                <c:rich>
                  <a:bodyPr/>
                  <a:lstStyle/>
                  <a:p>
                    <a:fld id="{A3D615C1-E400-43CE-8C8C-A2D29E9477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2B3-43D4-BD21-895ACA67225E}"/>
                </c:ext>
              </c:extLst>
            </c:dLbl>
            <c:dLbl>
              <c:idx val="6"/>
              <c:tx>
                <c:rich>
                  <a:bodyPr/>
                  <a:lstStyle/>
                  <a:p>
                    <a:fld id="{C263C60D-8C96-46DF-9528-CDEF17C483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2B3-43D4-BD21-895ACA67225E}"/>
                </c:ext>
              </c:extLst>
            </c:dLbl>
            <c:dLbl>
              <c:idx val="7"/>
              <c:tx>
                <c:rich>
                  <a:bodyPr/>
                  <a:lstStyle/>
                  <a:p>
                    <a:fld id="{AA946853-0FAA-47DC-8A8A-CA3F10265F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2B3-43D4-BD21-895ACA67225E}"/>
                </c:ext>
              </c:extLst>
            </c:dLbl>
            <c:dLbl>
              <c:idx val="8"/>
              <c:tx>
                <c:rich>
                  <a:bodyPr/>
                  <a:lstStyle/>
                  <a:p>
                    <a:fld id="{CB7813FF-6AEA-45F6-B7D4-9189F09B02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2B3-43D4-BD21-895ACA67225E}"/>
                </c:ext>
              </c:extLst>
            </c:dLbl>
            <c:dLbl>
              <c:idx val="9"/>
              <c:tx>
                <c:rich>
                  <a:bodyPr/>
                  <a:lstStyle/>
                  <a:p>
                    <a:fld id="{24EEAAC1-157C-4091-BF3F-296752ABD8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2B3-43D4-BD21-895ACA67225E}"/>
                </c:ext>
              </c:extLst>
            </c:dLbl>
            <c:dLbl>
              <c:idx val="10"/>
              <c:tx>
                <c:rich>
                  <a:bodyPr/>
                  <a:lstStyle/>
                  <a:p>
                    <a:fld id="{ADEDA060-5103-40FB-8D3B-6C12443E83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2B3-43D4-BD21-895ACA67225E}"/>
                </c:ext>
              </c:extLst>
            </c:dLbl>
            <c:dLbl>
              <c:idx val="11"/>
              <c:tx>
                <c:rich>
                  <a:bodyPr/>
                  <a:lstStyle/>
                  <a:p>
                    <a:fld id="{74E84EDB-B0B7-41D6-BCD9-8F0E28065A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2B3-43D4-BD21-895ACA67225E}"/>
                </c:ext>
              </c:extLst>
            </c:dLbl>
            <c:dLbl>
              <c:idx val="12"/>
              <c:tx>
                <c:rich>
                  <a:bodyPr/>
                  <a:lstStyle/>
                  <a:p>
                    <a:fld id="{9F3B3094-4FC6-4DF8-97ED-166FF93F2D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2B3-43D4-BD21-895ACA67225E}"/>
                </c:ext>
              </c:extLst>
            </c:dLbl>
            <c:dLbl>
              <c:idx val="13"/>
              <c:tx>
                <c:rich>
                  <a:bodyPr/>
                  <a:lstStyle/>
                  <a:p>
                    <a:r>
                      <a:t>14</a:t>
                    </a: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2B3-43D4-BD21-895ACA67225E}"/>
                </c:ext>
              </c:extLst>
            </c:dLbl>
            <c:dLbl>
              <c:idx val="14"/>
              <c:tx>
                <c:rich>
                  <a:bodyPr/>
                  <a:lstStyle/>
                  <a:p>
                    <a:fld id="{F1B0CC64-3FB7-4AB6-B660-550963CE80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2B3-43D4-BD21-895ACA67225E}"/>
                </c:ext>
              </c:extLst>
            </c:dLbl>
            <c:dLbl>
              <c:idx val="15"/>
              <c:tx>
                <c:rich>
                  <a:bodyPr/>
                  <a:lstStyle/>
                  <a:p>
                    <a:fld id="{2CB5329F-5CD9-4E9C-8E8E-960A038E01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2B3-43D4-BD21-895ACA67225E}"/>
                </c:ext>
              </c:extLst>
            </c:dLbl>
            <c:dLbl>
              <c:idx val="16"/>
              <c:tx>
                <c:rich>
                  <a:bodyPr/>
                  <a:lstStyle/>
                  <a:p>
                    <a:fld id="{14D0615B-B734-4E79-8D84-F1F2C6724C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2B3-43D4-BD21-895ACA67225E}"/>
                </c:ext>
              </c:extLst>
            </c:dLbl>
            <c:dLbl>
              <c:idx val="17"/>
              <c:tx>
                <c:rich>
                  <a:bodyPr/>
                  <a:lstStyle/>
                  <a:p>
                    <a:fld id="{406971F1-496D-417A-8D0E-0306EF3E93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2B3-43D4-BD21-895ACA67225E}"/>
                </c:ext>
              </c:extLst>
            </c:dLbl>
            <c:dLbl>
              <c:idx val="18"/>
              <c:tx>
                <c:rich>
                  <a:bodyPr/>
                  <a:lstStyle/>
                  <a:p>
                    <a:fld id="{D7A2B93E-9567-40AB-B793-83182342E3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2B3-43D4-BD21-895ACA67225E}"/>
                </c:ext>
              </c:extLst>
            </c:dLbl>
            <c:dLbl>
              <c:idx val="19"/>
              <c:tx>
                <c:rich>
                  <a:bodyPr/>
                  <a:lstStyle/>
                  <a:p>
                    <a:fld id="{7718FC84-6657-4DC3-87B5-EEFC84D6BD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2B3-43D4-BD21-895ACA67225E}"/>
                </c:ext>
              </c:extLst>
            </c:dLbl>
            <c:dLbl>
              <c:idx val="20"/>
              <c:tx>
                <c:rich>
                  <a:bodyPr/>
                  <a:lstStyle/>
                  <a:p>
                    <a:fld id="{3F848026-65ED-403C-B9C7-84881DCC39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2B3-43D4-BD21-895ACA67225E}"/>
                </c:ext>
              </c:extLst>
            </c:dLbl>
            <c:dLbl>
              <c:idx val="21"/>
              <c:tx>
                <c:rich>
                  <a:bodyPr/>
                  <a:lstStyle/>
                  <a:p>
                    <a:fld id="{95DE79A3-89CF-4C2A-966E-4013402BA3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66A5-42F8-9CB2-D500C2C49522}"/>
                </c:ext>
              </c:extLst>
            </c:dLbl>
            <c:dLbl>
              <c:idx val="22"/>
              <c:tx>
                <c:rich>
                  <a:bodyPr/>
                  <a:lstStyle/>
                  <a:p>
                    <a:fld id="{607D3391-6079-4D8F-A149-E72715900F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6A5-42F8-9CB2-D500C2C49522}"/>
                </c:ext>
              </c:extLst>
            </c:dLbl>
            <c:dLbl>
              <c:idx val="23"/>
              <c:tx>
                <c:rich>
                  <a:bodyPr/>
                  <a:lstStyle/>
                  <a:p>
                    <a:fld id="{3A02DDA7-5B19-42FD-9CA0-10376A321E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79-43B7-8A1A-3B973BF29255}"/>
                </c:ext>
              </c:extLst>
            </c:dLbl>
            <c:dLbl>
              <c:idx val="24"/>
              <c:tx>
                <c:rich>
                  <a:bodyPr/>
                  <a:lstStyle/>
                  <a:p>
                    <a:fld id="{EE207F9A-4DED-46C0-B55E-D346BEBFAD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79-43B7-8A1A-3B973BF29255}"/>
                </c:ext>
              </c:extLst>
            </c:dLbl>
            <c:dLbl>
              <c:idx val="25"/>
              <c:tx>
                <c:rich>
                  <a:bodyPr/>
                  <a:lstStyle/>
                  <a:p>
                    <a:fld id="{F7B93888-3EF3-4395-BB1F-E081B9D8B1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79-43B7-8A1A-3B973BF29255}"/>
                </c:ext>
              </c:extLst>
            </c:dLbl>
            <c:dLbl>
              <c:idx val="26"/>
              <c:tx>
                <c:rich>
                  <a:bodyPr/>
                  <a:lstStyle/>
                  <a:p>
                    <a:fld id="{38AC1D7E-8198-43EA-9BA3-69CC11A194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79-43B7-8A1A-3B973BF29255}"/>
                </c:ext>
              </c:extLst>
            </c:dLbl>
            <c:dLbl>
              <c:idx val="27"/>
              <c:tx>
                <c:rich>
                  <a:bodyPr/>
                  <a:lstStyle/>
                  <a:p>
                    <a:fld id="{2BA7037A-F619-476E-ABF4-86E68B1BF5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79-43B7-8A1A-3B973BF29255}"/>
                </c:ext>
              </c:extLst>
            </c:dLbl>
            <c:dLbl>
              <c:idx val="28"/>
              <c:tx>
                <c:rich>
                  <a:bodyPr/>
                  <a:lstStyle/>
                  <a:p>
                    <a:fld id="{E1D2ADAD-EF68-490F-A4E5-6493935DFC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FE79-43B7-8A1A-3B973BF29255}"/>
                </c:ext>
              </c:extLst>
            </c:dLbl>
            <c:dLbl>
              <c:idx val="29"/>
              <c:tx>
                <c:rich>
                  <a:bodyPr/>
                  <a:lstStyle/>
                  <a:p>
                    <a:fld id="{29584711-9648-4469-9B93-8EEAFD4FAF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FE79-43B7-8A1A-3B973BF29255}"/>
                </c:ext>
              </c:extLst>
            </c:dLbl>
            <c:dLbl>
              <c:idx val="30"/>
              <c:tx>
                <c:rich>
                  <a:bodyPr/>
                  <a:lstStyle/>
                  <a:p>
                    <a:fld id="{67318188-57D3-4BB5-A9A1-C3ABEFE4A9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FE79-43B7-8A1A-3B973BF29255}"/>
                </c:ext>
              </c:extLst>
            </c:dLbl>
            <c:dLbl>
              <c:idx val="31"/>
              <c:tx>
                <c:rich>
                  <a:bodyPr/>
                  <a:lstStyle/>
                  <a:p>
                    <a:fld id="{3DBA4BB7-1D5A-4B02-919E-A5587A50C5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FE79-43B7-8A1A-3B973BF29255}"/>
                </c:ext>
              </c:extLst>
            </c:dLbl>
            <c:dLbl>
              <c:idx val="32"/>
              <c:tx>
                <c:rich>
                  <a:bodyPr/>
                  <a:lstStyle/>
                  <a:p>
                    <a:fld id="{C8C2B610-BF64-4F2F-A011-338AB1E9B8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FE79-43B7-8A1A-3B973BF29255}"/>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5</c:f>
              <c:numCache>
                <c:formatCode>General</c:formatCode>
                <c:ptCount val="14"/>
                <c:pt idx="0">
                  <c:v>0.009576517829688547</c:v>
                </c:pt>
                <c:pt idx="1">
                  <c:v>-0.0012426408049868165</c:v>
                </c:pt>
                <c:pt idx="2">
                  <c:v>0.001998623536283134</c:v>
                </c:pt>
                <c:pt idx="3">
                  <c:v>-0.003646373396262448</c:v>
                </c:pt>
                <c:pt idx="4">
                  <c:v>-0.0013156726178824851</c:v>
                </c:pt>
                <c:pt idx="5">
                  <c:v>-0.0030217227065169813</c:v>
                </c:pt>
                <c:pt idx="6">
                  <c:v>-0.006286223755677681</c:v>
                </c:pt>
                <c:pt idx="7">
                  <c:v>0.0051005480234348685</c:v>
                </c:pt>
                <c:pt idx="8">
                  <c:v>-0.002310114260669495</c:v>
                </c:pt>
                <c:pt idx="9">
                  <c:v>-0.0010532962276137703</c:v>
                </c:pt>
                <c:pt idx="10">
                  <c:v>0.002590009295350283</c:v>
                </c:pt>
                <c:pt idx="11">
                  <c:v>-0.0005841679667803537</c:v>
                </c:pt>
                <c:pt idx="12">
                  <c:v>0.00010340837854656143</c:v>
                </c:pt>
                <c:pt idx="13">
                  <c:v>0.0012796074994817289</c:v>
                </c:pt>
              </c:numCache>
            </c:numRef>
          </c:xVal>
          <c:yVal>
            <c:numRef>
              <c:f>Sheet1!$B$2:$B$15</c:f>
              <c:numCache>
                <c:formatCode>General</c:formatCode>
                <c:ptCount val="14"/>
                <c:pt idx="0">
                  <c:v>0.0032889723828109507</c:v>
                </c:pt>
                <c:pt idx="1">
                  <c:v>-0.008048033994309645</c:v>
                </c:pt>
                <c:pt idx="2">
                  <c:v>0.00691820884101442</c:v>
                </c:pt>
                <c:pt idx="3">
                  <c:v>-0.005385926165081503</c:v>
                </c:pt>
                <c:pt idx="4">
                  <c:v>-0.010591382648368917</c:v>
                </c:pt>
                <c:pt idx="5">
                  <c:v>-0.004072234127118837</c:v>
                </c:pt>
                <c:pt idx="6">
                  <c:v>-0.007459783763891989</c:v>
                </c:pt>
                <c:pt idx="7">
                  <c:v>0.011193756833258947</c:v>
                </c:pt>
                <c:pt idx="8">
                  <c:v>-0.004890689181595468</c:v>
                </c:pt>
                <c:pt idx="9">
                  <c:v>-0.0005695646882634582</c:v>
                </c:pt>
                <c:pt idx="10">
                  <c:v>0.0009941093042372916</c:v>
                </c:pt>
                <c:pt idx="11">
                  <c:v>-0.004233745240201547</c:v>
                </c:pt>
                <c:pt idx="12">
                  <c:v>0.00016644626590205797</c:v>
                </c:pt>
                <c:pt idx="13">
                  <c:v>-0.0005408724973232672</c:v>
                </c:pt>
              </c:numCache>
            </c:numRef>
          </c:yVal>
          <c:bubbleSize>
            <c:numRef>
              <c:f>Sheet1!$C$2:$C$15</c:f>
              <c:numCache>
                <c:formatCode>General</c:formatCode>
                <c:ptCount val="14"/>
                <c:pt idx="0">
                  <c:v>265528414.0</c:v>
                </c:pt>
                <c:pt idx="1">
                  <c:v>192818189.0</c:v>
                </c:pt>
                <c:pt idx="2">
                  <c:v>79246058.0</c:v>
                </c:pt>
                <c:pt idx="3">
                  <c:v>39509333.0</c:v>
                </c:pt>
                <c:pt idx="4">
                  <c:v>39277810.0</c:v>
                </c:pt>
                <c:pt idx="5">
                  <c:v>34413794.0</c:v>
                </c:pt>
                <c:pt idx="6">
                  <c:v>33117229.0</c:v>
                </c:pt>
                <c:pt idx="7">
                  <c:v>33104928.0</c:v>
                </c:pt>
                <c:pt idx="8">
                  <c:v>30468388.0</c:v>
                </c:pt>
                <c:pt idx="9">
                  <c:v>22816387.0</c:v>
                </c:pt>
                <c:pt idx="10">
                  <c:v>22557022.0</c:v>
                </c:pt>
                <c:pt idx="11">
                  <c:v>20077707.0</c:v>
                </c:pt>
                <c:pt idx="12">
                  <c:v>19199955.0</c:v>
                </c:pt>
                <c:pt idx="13">
                  <c:v>17199711.0</c:v>
                </c:pt>
              </c:numCache>
            </c:numRef>
          </c:bubbleSize>
          <c:bubble3D val="0"/>
          <c:extLst>
            <c:ext xmlns:c15="http://schemas.microsoft.com/office/drawing/2012/chart" uri="{02D57815-91ED-43cb-92C2-25804820EDAC}">
              <c15:datalabelsRange>
                <c15:f>Sheet1!$D$2:$D$34</c15:f>
                <c15:dlblRangeCache>
                  <c:ptCount val="3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 </c:v>
                  </c:pt>
                  <c:pt idx="22">
                    <c:v>23 </c:v>
                  </c:pt>
                  <c:pt idx="23">
                    <c:v>24 </c:v>
                  </c:pt>
                  <c:pt idx="24">
                    <c:v>25 </c:v>
                  </c:pt>
                  <c:pt idx="25">
                    <c:v>26 </c:v>
                  </c:pt>
                  <c:pt idx="26">
                    <c:v>27 </c:v>
                  </c:pt>
                  <c:pt idx="27">
                    <c:v>28 </c:v>
                  </c:pt>
                  <c:pt idx="28">
                    <c:v>29 </c:v>
                  </c:pt>
                  <c:pt idx="29">
                    <c:v>30 </c:v>
                  </c:pt>
                  <c:pt idx="30">
                    <c:v>31 </c:v>
                  </c:pt>
                  <c:pt idx="31">
                    <c:v>32 </c:v>
                  </c:pt>
                  <c:pt idx="32">
                    <c:v>33 </c:v>
                  </c:pt>
                </c15:dlblRangeCache>
              </c15:datalabelsRange>
            </c:ext>
            <c:ext xmlns:c16="http://schemas.microsoft.com/office/drawing/2014/chart" uri="{C3380CC4-5D6E-409C-BE32-E72D297353CC}">
              <c16:uniqueId val="{00000000-E8D7-5D40-8192-48D91D141F56}"/>
            </c:ext>
          </c:extLst>
        </c:ser>
        <c:dLbls>
          <c:showLegendKey val="0"/>
          <c:showVal val="0"/>
          <c:showCatName val="0"/>
          <c:showSerName val="0"/>
          <c:showPercent val="0"/>
          <c:showBubbleSize val="0"/>
        </c:dLbls>
        <c:bubbleScale val="50"/>
        <c:showNegBubbles val="0"/>
        <c:axId val="1389925551"/>
        <c:axId val="1389927199"/>
      </c:bubbleChart>
      <c:valAx>
        <c:axId val="1389925551"/>
        <c:scaling>
          <c:orientation val="minMax"/>
        </c:scaling>
        <c:delete val="0"/>
        <c:axPos val="b"/>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7199"/>
        <c:crossesAt val="-0.0016593384770664974"/>
        <c:crossBetween val="midCat"/>
      </c:valAx>
      <c:valAx>
        <c:axId val="1389927199"/>
        <c:scaling>
          <c:orientation val="minMax"/>
        </c:scaling>
        <c:delete val="0"/>
        <c:axPos val="l"/>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5551"/>
        <c:crossesAt val="8.489305902822087e-0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374238658678002E-2"/>
          <c:y val="3.5678372632186241E-2"/>
          <c:w val="0.92883189647221065"/>
          <c:h val="0.87708287481703862"/>
        </c:manualLayout>
      </c:layout>
      <c:bubbleChart>
        <c:varyColors val="0"/>
        <c:ser>
          <c:idx val="0"/>
          <c:order val="0"/>
          <c:tx>
            <c:strRef>
              <c:f>Sheet1!$B$1</c:f>
              <c:strCache>
                <c:ptCount val="1"/>
                <c:pt idx="0">
                  <c:v>P3M Value Share</c:v>
                </c:pt>
              </c:strCache>
            </c:strRef>
          </c:tx>
          <c:spPr>
            <a:solidFill>
              <a:schemeClr val="bg1"/>
            </a:solidFill>
            <a:ln w="3175">
              <a:solidFill>
                <a:schemeClr val="tx2"/>
              </a:solidFill>
            </a:ln>
            <a:effectLst/>
          </c:spPr>
          <c:invertIfNegative val="0"/>
          <c:dPt>
            <c:idx val="2"/>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2-C625-D64F-9EE6-A56E35D3C48D}"/>
              </c:ext>
            </c:extLst>
          </c:dPt>
          <c:dPt>
            <c:idx val="3"/>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3-C625-D64F-9EE6-A56E35D3C48D}"/>
              </c:ext>
            </c:extLst>
          </c:dPt>
          <c:dLbls>
            <c:dLbl>
              <c:idx val="0"/>
              <c:tx>
                <c:rich>
                  <a:bodyPr/>
                  <a:lstStyle/>
                  <a:p>
                    <a:fld id="{5BC25211-8F2B-4B10-898F-0427C0BF4E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625-D64F-9EE6-A56E35D3C48D}"/>
                </c:ext>
              </c:extLst>
            </c:dLbl>
            <c:dLbl>
              <c:idx val="1"/>
              <c:tx>
                <c:rich>
                  <a:bodyPr/>
                  <a:lstStyle/>
                  <a:p>
                    <a:fld id="{260A0462-0761-475F-9ED9-C8F6595044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25-D64F-9EE6-A56E35D3C48D}"/>
                </c:ext>
              </c:extLst>
            </c:dLbl>
            <c:dLbl>
              <c:idx val="2"/>
              <c:tx>
                <c:rich>
                  <a:bodyPr/>
                  <a:lstStyle/>
                  <a:p>
                    <a:fld id="{029FE432-DB69-42BD-9549-90F921FA38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25-D64F-9EE6-A56E35D3C48D}"/>
                </c:ext>
              </c:extLst>
            </c:dLbl>
            <c:dLbl>
              <c:idx val="3"/>
              <c:tx>
                <c:rich>
                  <a:bodyPr/>
                  <a:lstStyle/>
                  <a:p>
                    <a:fld id="{F6B45849-6FCC-4821-8DC5-B360B5D241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25-D64F-9EE6-A56E35D3C48D}"/>
                </c:ext>
              </c:extLst>
            </c:dLbl>
            <c:dLbl>
              <c:idx val="4"/>
              <c:tx>
                <c:rich>
                  <a:bodyPr/>
                  <a:lstStyle/>
                  <a:p>
                    <a:fld id="{9462B56F-4904-40EC-871F-EB8EADBA36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2B3-43D4-BD21-895ACA67225E}"/>
                </c:ext>
              </c:extLst>
            </c:dLbl>
            <c:dLbl>
              <c:idx val="5"/>
              <c:tx>
                <c:rich>
                  <a:bodyPr/>
                  <a:lstStyle/>
                  <a:p>
                    <a:fld id="{2AC1E664-3B7D-4C50-B1D3-0121145760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2B3-43D4-BD21-895ACA67225E}"/>
                </c:ext>
              </c:extLst>
            </c:dLbl>
            <c:dLbl>
              <c:idx val="6"/>
              <c:tx>
                <c:rich>
                  <a:bodyPr/>
                  <a:lstStyle/>
                  <a:p>
                    <a:fld id="{6DCE96E5-A463-4F5C-A5D2-256018E24B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2B3-43D4-BD21-895ACA67225E}"/>
                </c:ext>
              </c:extLst>
            </c:dLbl>
            <c:dLbl>
              <c:idx val="7"/>
              <c:tx>
                <c:rich>
                  <a:bodyPr/>
                  <a:lstStyle/>
                  <a:p>
                    <a:fld id="{884AF588-1C2C-4A71-9ED7-F23D0ECB45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2B3-43D4-BD21-895ACA67225E}"/>
                </c:ext>
              </c:extLst>
            </c:dLbl>
            <c:dLbl>
              <c:idx val="8"/>
              <c:tx>
                <c:rich>
                  <a:bodyPr/>
                  <a:lstStyle/>
                  <a:p>
                    <a:fld id="{010C3D39-F6AF-407B-AA81-883DF87B5B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2B3-43D4-BD21-895ACA67225E}"/>
                </c:ext>
              </c:extLst>
            </c:dLbl>
            <c:dLbl>
              <c:idx val="9"/>
              <c:tx>
                <c:rich>
                  <a:bodyPr/>
                  <a:lstStyle/>
                  <a:p>
                    <a:fld id="{3F98B340-D73E-4C2D-8407-C475693B6E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2B3-43D4-BD21-895ACA67225E}"/>
                </c:ext>
              </c:extLst>
            </c:dLbl>
            <c:dLbl>
              <c:idx val="10"/>
              <c:tx>
                <c:rich>
                  <a:bodyPr/>
                  <a:lstStyle/>
                  <a:p>
                    <a:fld id="{94230D8F-1A97-4BE9-86F2-81F6A9B880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2B3-43D4-BD21-895ACA67225E}"/>
                </c:ext>
              </c:extLst>
            </c:dLbl>
            <c:dLbl>
              <c:idx val="11"/>
              <c:tx>
                <c:rich>
                  <a:bodyPr/>
                  <a:lstStyle/>
                  <a:p>
                    <a:fld id="{08FD6052-67D2-4557-9296-05B0D3A968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2B3-43D4-BD21-895ACA67225E}"/>
                </c:ext>
              </c:extLst>
            </c:dLbl>
            <c:dLbl>
              <c:idx val="12"/>
              <c:tx>
                <c:rich>
                  <a:bodyPr/>
                  <a:lstStyle/>
                  <a:p>
                    <a:fld id="{CAB86001-EBCB-430B-8C50-CF1102A006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2B3-43D4-BD21-895ACA67225E}"/>
                </c:ext>
              </c:extLst>
            </c:dLbl>
            <c:dLbl>
              <c:idx val="13"/>
              <c:tx>
                <c:rich>
                  <a:bodyPr/>
                  <a:lstStyle/>
                  <a:p>
                    <a:r>
                      <a:t>14</a:t>
                    </a: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2B3-43D4-BD21-895ACA67225E}"/>
                </c:ext>
              </c:extLst>
            </c:dLbl>
            <c:dLbl>
              <c:idx val="14"/>
              <c:tx>
                <c:rich>
                  <a:bodyPr/>
                  <a:lstStyle/>
                  <a:p>
                    <a:fld id="{BDFFCBEE-216D-47D1-B10D-8078FF7972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2B3-43D4-BD21-895ACA67225E}"/>
                </c:ext>
              </c:extLst>
            </c:dLbl>
            <c:dLbl>
              <c:idx val="15"/>
              <c:tx>
                <c:rich>
                  <a:bodyPr/>
                  <a:lstStyle/>
                  <a:p>
                    <a:fld id="{3382FA0A-F6E4-4EBE-8880-06421480CB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2B3-43D4-BD21-895ACA67225E}"/>
                </c:ext>
              </c:extLst>
            </c:dLbl>
            <c:dLbl>
              <c:idx val="16"/>
              <c:tx>
                <c:rich>
                  <a:bodyPr/>
                  <a:lstStyle/>
                  <a:p>
                    <a:fld id="{84E8D011-659C-4544-A216-3AD8345F3D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2B3-43D4-BD21-895ACA67225E}"/>
                </c:ext>
              </c:extLst>
            </c:dLbl>
            <c:dLbl>
              <c:idx val="17"/>
              <c:tx>
                <c:rich>
                  <a:bodyPr/>
                  <a:lstStyle/>
                  <a:p>
                    <a:fld id="{D7532D06-D022-4CA1-84A7-723438EBE0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2B3-43D4-BD21-895ACA67225E}"/>
                </c:ext>
              </c:extLst>
            </c:dLbl>
            <c:dLbl>
              <c:idx val="18"/>
              <c:tx>
                <c:rich>
                  <a:bodyPr/>
                  <a:lstStyle/>
                  <a:p>
                    <a:fld id="{BDD15755-0A70-4F72-9F3A-6B9689721E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2B3-43D4-BD21-895ACA67225E}"/>
                </c:ext>
              </c:extLst>
            </c:dLbl>
            <c:dLbl>
              <c:idx val="19"/>
              <c:tx>
                <c:rich>
                  <a:bodyPr/>
                  <a:lstStyle/>
                  <a:p>
                    <a:fld id="{16F82C5B-6250-4787-A34E-283278382C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2B3-43D4-BD21-895ACA67225E}"/>
                </c:ext>
              </c:extLst>
            </c:dLbl>
            <c:dLbl>
              <c:idx val="20"/>
              <c:tx>
                <c:rich>
                  <a:bodyPr/>
                  <a:lstStyle/>
                  <a:p>
                    <a:fld id="{1946C294-AFAF-4D00-B731-786605E33F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2B3-43D4-BD21-895ACA67225E}"/>
                </c:ext>
              </c:extLst>
            </c:dLbl>
            <c:dLbl>
              <c:idx val="21"/>
              <c:tx>
                <c:rich>
                  <a:bodyPr/>
                  <a:lstStyle/>
                  <a:p>
                    <a:fld id="{A2DF9323-2F86-487B-A771-28BFFF9834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66A5-42F8-9CB2-D500C2C49522}"/>
                </c:ext>
              </c:extLst>
            </c:dLbl>
            <c:dLbl>
              <c:idx val="22"/>
              <c:tx>
                <c:rich>
                  <a:bodyPr/>
                  <a:lstStyle/>
                  <a:p>
                    <a:fld id="{4790B728-BB3D-4141-AB4F-DABF083D8C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6A5-42F8-9CB2-D500C2C49522}"/>
                </c:ext>
              </c:extLst>
            </c:dLbl>
            <c:dLbl>
              <c:idx val="23"/>
              <c:tx>
                <c:rich>
                  <a:bodyPr/>
                  <a:lstStyle/>
                  <a:p>
                    <a:fld id="{2124761A-0F26-4492-8431-006216A737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79-43B7-8A1A-3B973BF29255}"/>
                </c:ext>
              </c:extLst>
            </c:dLbl>
            <c:dLbl>
              <c:idx val="24"/>
              <c:tx>
                <c:rich>
                  <a:bodyPr/>
                  <a:lstStyle/>
                  <a:p>
                    <a:fld id="{239C7DC1-E7C0-4EB0-BB82-126E3304B1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79-43B7-8A1A-3B973BF29255}"/>
                </c:ext>
              </c:extLst>
            </c:dLbl>
            <c:dLbl>
              <c:idx val="25"/>
              <c:tx>
                <c:rich>
                  <a:bodyPr/>
                  <a:lstStyle/>
                  <a:p>
                    <a:fld id="{0F35CB92-04E5-4475-953D-4967888771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79-43B7-8A1A-3B973BF29255}"/>
                </c:ext>
              </c:extLst>
            </c:dLbl>
            <c:dLbl>
              <c:idx val="26"/>
              <c:tx>
                <c:rich>
                  <a:bodyPr/>
                  <a:lstStyle/>
                  <a:p>
                    <a:fld id="{873776B0-7B80-4188-8AEA-DEB75E2FF6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79-43B7-8A1A-3B973BF29255}"/>
                </c:ext>
              </c:extLst>
            </c:dLbl>
            <c:dLbl>
              <c:idx val="27"/>
              <c:tx>
                <c:rich>
                  <a:bodyPr/>
                  <a:lstStyle/>
                  <a:p>
                    <a:fld id="{2A90F3B3-CD03-4DFC-A115-B7D44CE6EE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79-43B7-8A1A-3B973BF29255}"/>
                </c:ext>
              </c:extLst>
            </c:dLbl>
            <c:dLbl>
              <c:idx val="28"/>
              <c:tx>
                <c:rich>
                  <a:bodyPr/>
                  <a:lstStyle/>
                  <a:p>
                    <a:fld id="{85C1B529-008C-4FC3-B745-FD16511900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FE79-43B7-8A1A-3B973BF29255}"/>
                </c:ext>
              </c:extLst>
            </c:dLbl>
            <c:dLbl>
              <c:idx val="29"/>
              <c:tx>
                <c:rich>
                  <a:bodyPr/>
                  <a:lstStyle/>
                  <a:p>
                    <a:fld id="{03E21D5B-5C3D-4706-B2F6-25E20C5078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FE79-43B7-8A1A-3B973BF29255}"/>
                </c:ext>
              </c:extLst>
            </c:dLbl>
            <c:dLbl>
              <c:idx val="30"/>
              <c:tx>
                <c:rich>
                  <a:bodyPr/>
                  <a:lstStyle/>
                  <a:p>
                    <a:fld id="{6C266D64-0E80-4844-8D60-1B97C162A5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FE79-43B7-8A1A-3B973BF29255}"/>
                </c:ext>
              </c:extLst>
            </c:dLbl>
            <c:dLbl>
              <c:idx val="31"/>
              <c:tx>
                <c:rich>
                  <a:bodyPr/>
                  <a:lstStyle/>
                  <a:p>
                    <a:fld id="{4A5DAA52-2A5C-497F-A1F6-BA726ECD4A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FE79-43B7-8A1A-3B973BF29255}"/>
                </c:ext>
              </c:extLst>
            </c:dLbl>
            <c:dLbl>
              <c:idx val="32"/>
              <c:tx>
                <c:rich>
                  <a:bodyPr/>
                  <a:lstStyle/>
                  <a:p>
                    <a:fld id="{A5E89018-2FBD-4E29-9BBC-EAD70D5FA9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FE79-43B7-8A1A-3B973BF29255}"/>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5</c:f>
              <c:numCache>
                <c:formatCode>General</c:formatCode>
                <c:ptCount val="14"/>
                <c:pt idx="0">
                  <c:v>0.010722073417115952</c:v>
                </c:pt>
                <c:pt idx="1">
                  <c:v>-0.0015630476340265376</c:v>
                </c:pt>
                <c:pt idx="2">
                  <c:v>0.002094145430478797</c:v>
                </c:pt>
                <c:pt idx="3">
                  <c:v>-0.0037448074157368574</c:v>
                </c:pt>
                <c:pt idx="4">
                  <c:v>-0.001352080330620467</c:v>
                </c:pt>
                <c:pt idx="5">
                  <c:v>-0.003107259590573515</c:v>
                </c:pt>
                <c:pt idx="6">
                  <c:v>-0.006671959274008307</c:v>
                </c:pt>
                <c:pt idx="7">
                  <c:v>0.005523759654050567</c:v>
                </c:pt>
                <c:pt idx="8">
                  <c:v>-0.0023588192099298216</c:v>
                </c:pt>
                <c:pt idx="9">
                  <c:v>-0.0010530901171000515</c:v>
                </c:pt>
                <c:pt idx="10">
                  <c:v>0.002798545016582707</c:v>
                </c:pt>
                <c:pt idx="11">
                  <c:v>0.0013909332565977227</c:v>
                </c:pt>
                <c:pt idx="12">
                  <c:v>0.0004612445249430469</c:v>
                </c:pt>
                <c:pt idx="13">
                  <c:v>-2.775344003718566e-05</c:v>
                </c:pt>
              </c:numCache>
            </c:numRef>
          </c:xVal>
          <c:yVal>
            <c:numRef>
              <c:f>Sheet1!$B$2:$B$15</c:f>
              <c:numCache>
                <c:formatCode>General</c:formatCode>
                <c:ptCount val="14"/>
                <c:pt idx="0">
                  <c:v>0.004660339983711681</c:v>
                </c:pt>
                <c:pt idx="1">
                  <c:v>-0.008884471508826264</c:v>
                </c:pt>
                <c:pt idx="2">
                  <c:v>0.0070592447927767255</c:v>
                </c:pt>
                <c:pt idx="3">
                  <c:v>-0.005563767450042251</c:v>
                </c:pt>
                <c:pt idx="4">
                  <c:v>-0.011278918964740675</c:v>
                </c:pt>
                <c:pt idx="5">
                  <c:v>-0.004192637959219078</c:v>
                </c:pt>
                <c:pt idx="6">
                  <c:v>-0.007949471490276062</c:v>
                </c:pt>
                <c:pt idx="7">
                  <c:v>0.011817932572223626</c:v>
                </c:pt>
                <c:pt idx="8">
                  <c:v>-0.005067544262083133</c:v>
                </c:pt>
                <c:pt idx="9">
                  <c:v>-0.0005447061628141431</c:v>
                </c:pt>
                <c:pt idx="10">
                  <c:v>0.001031227835825252</c:v>
                </c:pt>
                <c:pt idx="11">
                  <c:v>-0.0005936445071072945</c:v>
                </c:pt>
                <c:pt idx="12">
                  <c:v>-0.004181812312251544</c:v>
                </c:pt>
                <c:pt idx="13">
                  <c:v>-7.073215940060773e-05</c:v>
                </c:pt>
              </c:numCache>
            </c:numRef>
          </c:yVal>
          <c:bubbleSize>
            <c:numRef>
              <c:f>Sheet1!$C$2:$C$15</c:f>
              <c:numCache>
                <c:formatCode>General</c:formatCode>
                <c:ptCount val="14"/>
                <c:pt idx="0">
                  <c:v>263392264.0</c:v>
                </c:pt>
                <c:pt idx="1">
                  <c:v>189926117.0</c:v>
                </c:pt>
                <c:pt idx="2">
                  <c:v>78035423.0</c:v>
                </c:pt>
                <c:pt idx="3">
                  <c:v>39509333.0</c:v>
                </c:pt>
                <c:pt idx="4">
                  <c:v>39277810.0</c:v>
                </c:pt>
                <c:pt idx="5">
                  <c:v>34407631.0</c:v>
                </c:pt>
                <c:pt idx="6">
                  <c:v>33117229.0</c:v>
                </c:pt>
                <c:pt idx="7">
                  <c:v>33032864.0</c:v>
                </c:pt>
                <c:pt idx="8">
                  <c:v>30468388.0</c:v>
                </c:pt>
                <c:pt idx="9">
                  <c:v>22816387.0</c:v>
                </c:pt>
                <c:pt idx="10">
                  <c:v>22557022.0</c:v>
                </c:pt>
                <c:pt idx="11">
                  <c:v>17199711.0</c:v>
                </c:pt>
                <c:pt idx="12">
                  <c:v>15801842.0</c:v>
                </c:pt>
                <c:pt idx="13">
                  <c:v>15405497.0</c:v>
                </c:pt>
              </c:numCache>
            </c:numRef>
          </c:bubbleSize>
          <c:bubble3D val="0"/>
          <c:extLst>
            <c:ext xmlns:c15="http://schemas.microsoft.com/office/drawing/2012/chart" uri="{02D57815-91ED-43cb-92C2-25804820EDAC}">
              <c15:datalabelsRange>
                <c15:f>Sheet1!$D$2:$D$34</c15:f>
                <c15:dlblRangeCache>
                  <c:ptCount val="3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 </c:v>
                  </c:pt>
                  <c:pt idx="22">
                    <c:v>23 </c:v>
                  </c:pt>
                  <c:pt idx="23">
                    <c:v>24 </c:v>
                  </c:pt>
                  <c:pt idx="24">
                    <c:v>25 </c:v>
                  </c:pt>
                  <c:pt idx="25">
                    <c:v>26 </c:v>
                  </c:pt>
                  <c:pt idx="26">
                    <c:v>27 </c:v>
                  </c:pt>
                  <c:pt idx="27">
                    <c:v>28 </c:v>
                  </c:pt>
                  <c:pt idx="28">
                    <c:v>29 </c:v>
                  </c:pt>
                  <c:pt idx="29">
                    <c:v>30 </c:v>
                  </c:pt>
                  <c:pt idx="30">
                    <c:v>31 </c:v>
                  </c:pt>
                  <c:pt idx="31">
                    <c:v>32 </c:v>
                  </c:pt>
                  <c:pt idx="32">
                    <c:v>33 </c:v>
                  </c:pt>
                </c15:dlblRangeCache>
              </c15:datalabelsRange>
            </c:ext>
            <c:ext xmlns:c16="http://schemas.microsoft.com/office/drawing/2014/chart" uri="{C3380CC4-5D6E-409C-BE32-E72D297353CC}">
              <c16:uniqueId val="{00000000-E8D7-5D40-8192-48D91D141F56}"/>
            </c:ext>
          </c:extLst>
        </c:ser>
        <c:dLbls>
          <c:showLegendKey val="0"/>
          <c:showVal val="0"/>
          <c:showCatName val="0"/>
          <c:showSerName val="0"/>
          <c:showPercent val="0"/>
          <c:showBubbleSize val="0"/>
        </c:dLbls>
        <c:bubbleScale val="50"/>
        <c:showNegBubbles val="0"/>
        <c:axId val="1389925551"/>
        <c:axId val="1389927199"/>
      </c:bubbleChart>
      <c:valAx>
        <c:axId val="1389925551"/>
        <c:scaling>
          <c:orientation val="minMax"/>
        </c:scaling>
        <c:delete val="0"/>
        <c:axPos val="b"/>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7199"/>
        <c:crossesAt val="-0.0016970686851588406"/>
        <c:crossBetween val="midCat"/>
      </c:valAx>
      <c:valAx>
        <c:axId val="1389927199"/>
        <c:scaling>
          <c:orientation val="minMax"/>
        </c:scaling>
        <c:delete val="0"/>
        <c:axPos val="l"/>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5551"/>
        <c:crossesAt val="0.000222277449124003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374238658678002E-2"/>
          <c:y val="3.5678372632186241E-2"/>
          <c:w val="0.92883189647221065"/>
          <c:h val="0.87708287481703862"/>
        </c:manualLayout>
      </c:layout>
      <c:bubbleChart>
        <c:varyColors val="0"/>
        <c:ser>
          <c:idx val="0"/>
          <c:order val="0"/>
          <c:tx>
            <c:strRef>
              <c:f>Sheet1!$B$1</c:f>
              <c:strCache>
                <c:ptCount val="1"/>
                <c:pt idx="0">
                  <c:v>P3M Value Share</c:v>
                </c:pt>
              </c:strCache>
            </c:strRef>
          </c:tx>
          <c:spPr>
            <a:solidFill>
              <a:schemeClr val="bg1"/>
            </a:solidFill>
            <a:ln w="3175">
              <a:solidFill>
                <a:schemeClr val="tx2"/>
              </a:solidFill>
            </a:ln>
            <a:effectLst/>
          </c:spPr>
          <c:invertIfNegative val="0"/>
          <c:dPt>
            <c:idx val="2"/>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2-C625-D64F-9EE6-A56E35D3C48D}"/>
              </c:ext>
            </c:extLst>
          </c:dPt>
          <c:dPt>
            <c:idx val="3"/>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3-C625-D64F-9EE6-A56E35D3C48D}"/>
              </c:ext>
            </c:extLst>
          </c:dPt>
          <c:dLbls>
            <c:dLbl>
              <c:idx val="0"/>
              <c:tx>
                <c:rich>
                  <a:bodyPr/>
                  <a:lstStyle/>
                  <a:p>
                    <a:fld id="{2ABF161C-32B0-4B0E-B55F-2813C782B1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625-D64F-9EE6-A56E35D3C48D}"/>
                </c:ext>
              </c:extLst>
            </c:dLbl>
            <c:dLbl>
              <c:idx val="1"/>
              <c:tx>
                <c:rich>
                  <a:bodyPr/>
                  <a:lstStyle/>
                  <a:p>
                    <a:fld id="{AB6853F5-F83E-4A05-87DE-DCD97478EE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25-D64F-9EE6-A56E35D3C48D}"/>
                </c:ext>
              </c:extLst>
            </c:dLbl>
            <c:dLbl>
              <c:idx val="2"/>
              <c:tx>
                <c:rich>
                  <a:bodyPr/>
                  <a:lstStyle/>
                  <a:p>
                    <a:fld id="{86D0A77B-B3EB-49BF-8825-577E34AFE4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25-D64F-9EE6-A56E35D3C48D}"/>
                </c:ext>
              </c:extLst>
            </c:dLbl>
            <c:dLbl>
              <c:idx val="3"/>
              <c:tx>
                <c:rich>
                  <a:bodyPr/>
                  <a:lstStyle/>
                  <a:p>
                    <a:fld id="{F3EE3650-8392-4228-AF1B-566B5B0B21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25-D64F-9EE6-A56E35D3C48D}"/>
                </c:ext>
              </c:extLst>
            </c:dLbl>
            <c:dLbl>
              <c:idx val="4"/>
              <c:tx>
                <c:rich>
                  <a:bodyPr/>
                  <a:lstStyle/>
                  <a:p>
                    <a:fld id="{30CCA57F-B5B5-4CAB-8D13-84AC25144D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2B3-43D4-BD21-895ACA67225E}"/>
                </c:ext>
              </c:extLst>
            </c:dLbl>
            <c:dLbl>
              <c:idx val="5"/>
              <c:tx>
                <c:rich>
                  <a:bodyPr/>
                  <a:lstStyle/>
                  <a:p>
                    <a:fld id="{6305E834-524C-4F20-8D49-1E939F41EE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2B3-43D4-BD21-895ACA67225E}"/>
                </c:ext>
              </c:extLst>
            </c:dLbl>
            <c:dLbl>
              <c:idx val="6"/>
              <c:tx>
                <c:rich>
                  <a:bodyPr/>
                  <a:lstStyle/>
                  <a:p>
                    <a:fld id="{B26DE361-7306-4015-BB35-0148B6F72F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2B3-43D4-BD21-895ACA67225E}"/>
                </c:ext>
              </c:extLst>
            </c:dLbl>
            <c:dLbl>
              <c:idx val="7"/>
              <c:tx>
                <c:rich>
                  <a:bodyPr/>
                  <a:lstStyle/>
                  <a:p>
                    <a:fld id="{3C373A85-9B0E-4816-B0A9-46C7AF009B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2B3-43D4-BD21-895ACA67225E}"/>
                </c:ext>
              </c:extLst>
            </c:dLbl>
            <c:dLbl>
              <c:idx val="8"/>
              <c:tx>
                <c:rich>
                  <a:bodyPr/>
                  <a:lstStyle/>
                  <a:p>
                    <a:fld id="{3F0B2EB6-CF66-47BD-9A19-3AB925EF7D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2B3-43D4-BD21-895ACA67225E}"/>
                </c:ext>
              </c:extLst>
            </c:dLbl>
            <c:dLbl>
              <c:idx val="9"/>
              <c:tx>
                <c:rich>
                  <a:bodyPr/>
                  <a:lstStyle/>
                  <a:p>
                    <a:r>
                      <a:t>10</a:t>
                    </a: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2B3-43D4-BD21-895ACA67225E}"/>
                </c:ext>
              </c:extLst>
            </c:dLbl>
            <c:dLbl>
              <c:idx val="10"/>
              <c:tx>
                <c:rich>
                  <a:bodyPr/>
                  <a:lstStyle/>
                  <a:p>
                    <a:fld id="{95EE74C2-8BA4-4C47-9E5A-5DF94FABB7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2B3-43D4-BD21-895ACA67225E}"/>
                </c:ext>
              </c:extLst>
            </c:dLbl>
            <c:dLbl>
              <c:idx val="11"/>
              <c:tx>
                <c:rich>
                  <a:bodyPr/>
                  <a:lstStyle/>
                  <a:p>
                    <a:fld id="{1EC5AB48-BF9C-4014-8D1D-0AC1F0DC8C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2B3-43D4-BD21-895ACA67225E}"/>
                </c:ext>
              </c:extLst>
            </c:dLbl>
            <c:dLbl>
              <c:idx val="12"/>
              <c:tx>
                <c:rich>
                  <a:bodyPr/>
                  <a:lstStyle/>
                  <a:p>
                    <a:fld id="{16CBE54C-92F8-41F7-9E85-B639C8DC3A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2B3-43D4-BD21-895ACA67225E}"/>
                </c:ext>
              </c:extLst>
            </c:dLbl>
            <c:dLbl>
              <c:idx val="13"/>
              <c:tx>
                <c:rich>
                  <a:bodyPr/>
                  <a:lstStyle/>
                  <a:p>
                    <a:fld id="{97E4755D-2F78-4A5B-9804-247DBF6815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2B3-43D4-BD21-895ACA67225E}"/>
                </c:ext>
              </c:extLst>
            </c:dLbl>
            <c:dLbl>
              <c:idx val="14"/>
              <c:tx>
                <c:rich>
                  <a:bodyPr/>
                  <a:lstStyle/>
                  <a:p>
                    <a:fld id="{1DFC17D7-D018-4F2C-9F80-CE2788C907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2B3-43D4-BD21-895ACA67225E}"/>
                </c:ext>
              </c:extLst>
            </c:dLbl>
            <c:dLbl>
              <c:idx val="15"/>
              <c:tx>
                <c:rich>
                  <a:bodyPr/>
                  <a:lstStyle/>
                  <a:p>
                    <a:fld id="{2973DDD4-2593-4AB5-8051-99A09B22DE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2B3-43D4-BD21-895ACA67225E}"/>
                </c:ext>
              </c:extLst>
            </c:dLbl>
            <c:dLbl>
              <c:idx val="16"/>
              <c:tx>
                <c:rich>
                  <a:bodyPr/>
                  <a:lstStyle/>
                  <a:p>
                    <a:fld id="{826C70D1-F251-44F0-9F66-A0E2B22C96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2B3-43D4-BD21-895ACA67225E}"/>
                </c:ext>
              </c:extLst>
            </c:dLbl>
            <c:dLbl>
              <c:idx val="17"/>
              <c:tx>
                <c:rich>
                  <a:bodyPr/>
                  <a:lstStyle/>
                  <a:p>
                    <a:fld id="{8E135CEA-C03C-4195-AA5B-5FE0BF1C56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2B3-43D4-BD21-895ACA67225E}"/>
                </c:ext>
              </c:extLst>
            </c:dLbl>
            <c:dLbl>
              <c:idx val="18"/>
              <c:tx>
                <c:rich>
                  <a:bodyPr/>
                  <a:lstStyle/>
                  <a:p>
                    <a:fld id="{4EB60492-A0AD-483E-9C55-36FDF33F3B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2B3-43D4-BD21-895ACA67225E}"/>
                </c:ext>
              </c:extLst>
            </c:dLbl>
            <c:dLbl>
              <c:idx val="19"/>
              <c:tx>
                <c:rich>
                  <a:bodyPr/>
                  <a:lstStyle/>
                  <a:p>
                    <a:fld id="{0BA80B13-418B-43EC-95CB-3AE59E49BE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2B3-43D4-BD21-895ACA67225E}"/>
                </c:ext>
              </c:extLst>
            </c:dLbl>
            <c:dLbl>
              <c:idx val="20"/>
              <c:tx>
                <c:rich>
                  <a:bodyPr/>
                  <a:lstStyle/>
                  <a:p>
                    <a:fld id="{9BA3F2F0-F07B-4C81-83AE-3D2E0D78EB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2B3-43D4-BD21-895ACA67225E}"/>
                </c:ext>
              </c:extLst>
            </c:dLbl>
            <c:dLbl>
              <c:idx val="21"/>
              <c:tx>
                <c:rich>
                  <a:bodyPr/>
                  <a:lstStyle/>
                  <a:p>
                    <a:fld id="{756CBE37-47F3-4B36-A9D2-8A471E6B74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66A5-42F8-9CB2-D500C2C49522}"/>
                </c:ext>
              </c:extLst>
            </c:dLbl>
            <c:dLbl>
              <c:idx val="22"/>
              <c:tx>
                <c:rich>
                  <a:bodyPr/>
                  <a:lstStyle/>
                  <a:p>
                    <a:fld id="{AE7FA6EA-627C-4DD2-8E4C-A3C60C5DBF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6A5-42F8-9CB2-D500C2C49522}"/>
                </c:ext>
              </c:extLst>
            </c:dLbl>
            <c:dLbl>
              <c:idx val="23"/>
              <c:tx>
                <c:rich>
                  <a:bodyPr/>
                  <a:lstStyle/>
                  <a:p>
                    <a:fld id="{736A5912-00AC-4923-A5A4-50077271EC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79-43B7-8A1A-3B973BF29255}"/>
                </c:ext>
              </c:extLst>
            </c:dLbl>
            <c:dLbl>
              <c:idx val="24"/>
              <c:tx>
                <c:rich>
                  <a:bodyPr/>
                  <a:lstStyle/>
                  <a:p>
                    <a:fld id="{05C4BD13-2A3C-4948-A164-AF091EEB2E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79-43B7-8A1A-3B973BF29255}"/>
                </c:ext>
              </c:extLst>
            </c:dLbl>
            <c:dLbl>
              <c:idx val="25"/>
              <c:tx>
                <c:rich>
                  <a:bodyPr/>
                  <a:lstStyle/>
                  <a:p>
                    <a:fld id="{354F5F95-9502-4A9F-9E84-F394A68B18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79-43B7-8A1A-3B973BF29255}"/>
                </c:ext>
              </c:extLst>
            </c:dLbl>
            <c:dLbl>
              <c:idx val="26"/>
              <c:tx>
                <c:rich>
                  <a:bodyPr/>
                  <a:lstStyle/>
                  <a:p>
                    <a:fld id="{5351B4A5-90AF-4938-AEA3-04142EEFFB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79-43B7-8A1A-3B973BF29255}"/>
                </c:ext>
              </c:extLst>
            </c:dLbl>
            <c:dLbl>
              <c:idx val="27"/>
              <c:tx>
                <c:rich>
                  <a:bodyPr/>
                  <a:lstStyle/>
                  <a:p>
                    <a:fld id="{A31DEA0A-B0B3-4819-AA9F-87730D84A4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79-43B7-8A1A-3B973BF29255}"/>
                </c:ext>
              </c:extLst>
            </c:dLbl>
            <c:dLbl>
              <c:idx val="28"/>
              <c:tx>
                <c:rich>
                  <a:bodyPr/>
                  <a:lstStyle/>
                  <a:p>
                    <a:fld id="{49EF5AE8-D922-43B8-9915-F273278816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FE79-43B7-8A1A-3B973BF29255}"/>
                </c:ext>
              </c:extLst>
            </c:dLbl>
            <c:dLbl>
              <c:idx val="29"/>
              <c:tx>
                <c:rich>
                  <a:bodyPr/>
                  <a:lstStyle/>
                  <a:p>
                    <a:fld id="{FDF3C727-6C8A-4F0F-9419-C9F6EE863A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FE79-43B7-8A1A-3B973BF29255}"/>
                </c:ext>
              </c:extLst>
            </c:dLbl>
            <c:dLbl>
              <c:idx val="30"/>
              <c:tx>
                <c:rich>
                  <a:bodyPr/>
                  <a:lstStyle/>
                  <a:p>
                    <a:fld id="{7BE63CF4-D6CC-461B-B1B0-0A8C98703E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FE79-43B7-8A1A-3B973BF29255}"/>
                </c:ext>
              </c:extLst>
            </c:dLbl>
            <c:dLbl>
              <c:idx val="31"/>
              <c:tx>
                <c:rich>
                  <a:bodyPr/>
                  <a:lstStyle/>
                  <a:p>
                    <a:fld id="{619906ED-2C96-4A53-AE96-84F47E8043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FE79-43B7-8A1A-3B973BF29255}"/>
                </c:ext>
              </c:extLst>
            </c:dLbl>
            <c:dLbl>
              <c:idx val="32"/>
              <c:tx>
                <c:rich>
                  <a:bodyPr/>
                  <a:lstStyle/>
                  <a:p>
                    <a:fld id="{ED6BD8DC-03C7-4ADE-AEF0-3E82F045D0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FE79-43B7-8A1A-3B973BF29255}"/>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1</c:f>
              <c:numCache>
                <c:formatCode>General</c:formatCode>
                <c:ptCount val="10"/>
                <c:pt idx="0">
                  <c:v>0.0007177047080056953</c:v>
                </c:pt>
                <c:pt idx="1">
                  <c:v>-6.279312413204341e-05</c:v>
                </c:pt>
                <c:pt idx="2">
                  <c:v>-0.014229720719683564</c:v>
                </c:pt>
                <c:pt idx="3">
                  <c:v>-0.0065173388965961004</c:v>
                </c:pt>
                <c:pt idx="4">
                  <c:v>-0.015020765604180641</c:v>
                </c:pt>
                <c:pt idx="5">
                  <c:v>0.0019713551485693037</c:v>
                </c:pt>
                <c:pt idx="6">
                  <c:v>0.005624926665598953</c:v>
                </c:pt>
                <c:pt idx="7">
                  <c:v>0.004103124611177789</c:v>
                </c:pt>
                <c:pt idx="8">
                  <c:v>-0.00021277522639178564</c:v>
                </c:pt>
                <c:pt idx="9">
                  <c:v>-0.001490797707470383</c:v>
                </c:pt>
              </c:numCache>
            </c:numRef>
          </c:xVal>
          <c:yVal>
            <c:numRef>
              <c:f>Sheet1!$B$2:$B$11</c:f>
              <c:numCache>
                <c:formatCode>General</c:formatCode>
                <c:ptCount val="10"/>
                <c:pt idx="0">
                  <c:v>0.012534079846822976</c:v>
                </c:pt>
                <c:pt idx="1">
                  <c:v>-0.06257873780638201</c:v>
                </c:pt>
                <c:pt idx="2">
                  <c:v>-0.015809296285546587</c:v>
                </c:pt>
                <c:pt idx="3">
                  <c:v>0.051657270995826454</c:v>
                </c:pt>
                <c:pt idx="4">
                  <c:v>-0.0032556709337787926</c:v>
                </c:pt>
                <c:pt idx="5">
                  <c:v>0.0009449233150432695</c:v>
                </c:pt>
                <c:pt idx="6">
                  <c:v>0.006904166155164121</c:v>
                </c:pt>
                <c:pt idx="7">
                  <c:v>0.0017136362695813756</c:v>
                </c:pt>
                <c:pt idx="8">
                  <c:v>-0.013642223136867512</c:v>
                </c:pt>
                <c:pt idx="9">
                  <c:v>0.0007952215817181238</c:v>
                </c:pt>
              </c:numCache>
            </c:numRef>
          </c:yVal>
          <c:bubbleSize>
            <c:numRef>
              <c:f>Sheet1!$C$2:$C$11</c:f>
              <c:numCache>
                <c:formatCode>General</c:formatCode>
                <c:ptCount val="10"/>
                <c:pt idx="0">
                  <c:v>23637907.0</c:v>
                </c:pt>
                <c:pt idx="1">
                  <c:v>23271110.0</c:v>
                </c:pt>
                <c:pt idx="2">
                  <c:v>5715349.0</c:v>
                </c:pt>
                <c:pt idx="3">
                  <c:v>4730575.0</c:v>
                </c:pt>
                <c:pt idx="4">
                  <c:v>4275865.0</c:v>
                </c:pt>
                <c:pt idx="5">
                  <c:v>3679581.0</c:v>
                </c:pt>
                <c:pt idx="6">
                  <c:v>2668533.0</c:v>
                </c:pt>
                <c:pt idx="7">
                  <c:v>2642649.0</c:v>
                </c:pt>
                <c:pt idx="8">
                  <c:v>2136150.0</c:v>
                </c:pt>
                <c:pt idx="9">
                  <c:v>1221414.0</c:v>
                </c:pt>
              </c:numCache>
            </c:numRef>
          </c:bubbleSize>
          <c:bubble3D val="0"/>
          <c:extLst>
            <c:ext xmlns:c15="http://schemas.microsoft.com/office/drawing/2012/chart" uri="{02D57815-91ED-43cb-92C2-25804820EDAC}">
              <c15:datalabelsRange>
                <c15:f>Sheet1!$D$2:$D$34</c15:f>
                <c15:dlblRangeCache>
                  <c:ptCount val="3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 </c:v>
                  </c:pt>
                  <c:pt idx="22">
                    <c:v>23 </c:v>
                  </c:pt>
                  <c:pt idx="23">
                    <c:v>24 </c:v>
                  </c:pt>
                  <c:pt idx="24">
                    <c:v>25 </c:v>
                  </c:pt>
                  <c:pt idx="25">
                    <c:v>26 </c:v>
                  </c:pt>
                  <c:pt idx="26">
                    <c:v>27 </c:v>
                  </c:pt>
                  <c:pt idx="27">
                    <c:v>28 </c:v>
                  </c:pt>
                  <c:pt idx="28">
                    <c:v>29 </c:v>
                  </c:pt>
                  <c:pt idx="29">
                    <c:v>30 </c:v>
                  </c:pt>
                  <c:pt idx="30">
                    <c:v>31 </c:v>
                  </c:pt>
                  <c:pt idx="31">
                    <c:v>32 </c:v>
                  </c:pt>
                  <c:pt idx="32">
                    <c:v>33 </c:v>
                  </c:pt>
                </c15:dlblRangeCache>
              </c15:datalabelsRange>
            </c:ext>
            <c:ext xmlns:c16="http://schemas.microsoft.com/office/drawing/2014/chart" uri="{C3380CC4-5D6E-409C-BE32-E72D297353CC}">
              <c16:uniqueId val="{00000000-E8D7-5D40-8192-48D91D141F56}"/>
            </c:ext>
          </c:extLst>
        </c:ser>
        <c:dLbls>
          <c:showLegendKey val="0"/>
          <c:showVal val="0"/>
          <c:showCatName val="0"/>
          <c:showSerName val="0"/>
          <c:showPercent val="0"/>
          <c:showBubbleSize val="0"/>
        </c:dLbls>
        <c:bubbleScale val="50"/>
        <c:showNegBubbles val="0"/>
        <c:axId val="1389925551"/>
        <c:axId val="1389927199"/>
      </c:bubbleChart>
      <c:valAx>
        <c:axId val="1389925551"/>
        <c:scaling>
          <c:orientation val="minMax"/>
        </c:scaling>
        <c:delete val="0"/>
        <c:axPos val="b"/>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7199"/>
        <c:crossesAt val="-0.002073662999841858"/>
        <c:crossBetween val="midCat"/>
      </c:valAx>
      <c:valAx>
        <c:axId val="1389927199"/>
        <c:scaling>
          <c:orientation val="minMax"/>
        </c:scaling>
        <c:delete val="0"/>
        <c:axPos val="l"/>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5551"/>
        <c:crossesAt val="-0.0025117080145102776"/>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374238658678002E-2"/>
          <c:y val="3.5678372632186241E-2"/>
          <c:w val="0.92883189647221065"/>
          <c:h val="0.87708287481703862"/>
        </c:manualLayout>
      </c:layout>
      <c:bubbleChart>
        <c:varyColors val="0"/>
        <c:ser>
          <c:idx val="0"/>
          <c:order val="0"/>
          <c:tx>
            <c:strRef>
              <c:f>Sheet1!$B$1</c:f>
              <c:strCache>
                <c:ptCount val="1"/>
                <c:pt idx="0">
                  <c:v>P3M Value Share</c:v>
                </c:pt>
              </c:strCache>
            </c:strRef>
          </c:tx>
          <c:spPr>
            <a:solidFill>
              <a:schemeClr val="bg1"/>
            </a:solidFill>
            <a:ln w="3175">
              <a:solidFill>
                <a:schemeClr val="tx2"/>
              </a:solidFill>
            </a:ln>
            <a:effectLst/>
          </c:spPr>
          <c:invertIfNegative val="0"/>
          <c:dPt>
            <c:idx val="2"/>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2-C625-D64F-9EE6-A56E35D3C48D}"/>
              </c:ext>
            </c:extLst>
          </c:dPt>
          <c:dPt>
            <c:idx val="3"/>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3-C625-D64F-9EE6-A56E35D3C48D}"/>
              </c:ext>
            </c:extLst>
          </c:dPt>
          <c:dLbls>
            <c:dLbl>
              <c:idx val="0"/>
              <c:tx>
                <c:rich>
                  <a:bodyPr/>
                  <a:lstStyle/>
                  <a:p>
                    <a:fld id="{5109A37B-928D-4D0C-81F5-03C84EF962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625-D64F-9EE6-A56E35D3C48D}"/>
                </c:ext>
              </c:extLst>
            </c:dLbl>
            <c:dLbl>
              <c:idx val="1"/>
              <c:tx>
                <c:rich>
                  <a:bodyPr/>
                  <a:lstStyle/>
                  <a:p>
                    <a:fld id="{1F205BE2-33DE-4B93-8590-451E8ED3B9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25-D64F-9EE6-A56E35D3C48D}"/>
                </c:ext>
              </c:extLst>
            </c:dLbl>
            <c:dLbl>
              <c:idx val="2"/>
              <c:tx>
                <c:rich>
                  <a:bodyPr/>
                  <a:lstStyle/>
                  <a:p>
                    <a:fld id="{C9AE125B-EF88-4276-A73C-42C2D0E6EF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25-D64F-9EE6-A56E35D3C48D}"/>
                </c:ext>
              </c:extLst>
            </c:dLbl>
            <c:dLbl>
              <c:idx val="3"/>
              <c:tx>
                <c:rich>
                  <a:bodyPr/>
                  <a:lstStyle/>
                  <a:p>
                    <a:fld id="{0A4CBB37-1E25-4F8C-85B7-2D2D629278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25-D64F-9EE6-A56E35D3C48D}"/>
                </c:ext>
              </c:extLst>
            </c:dLbl>
            <c:dLbl>
              <c:idx val="4"/>
              <c:tx>
                <c:rich>
                  <a:bodyPr/>
                  <a:lstStyle/>
                  <a:p>
                    <a:fld id="{6BFB2665-C4C7-41E4-91B3-B589F04993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2B3-43D4-BD21-895ACA67225E}"/>
                </c:ext>
              </c:extLst>
            </c:dLbl>
            <c:dLbl>
              <c:idx val="5"/>
              <c:tx>
                <c:rich>
                  <a:bodyPr/>
                  <a:lstStyle/>
                  <a:p>
                    <a:fld id="{71D5C351-8EA7-4221-B0E8-6BE7F885F2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2B3-43D4-BD21-895ACA67225E}"/>
                </c:ext>
              </c:extLst>
            </c:dLbl>
            <c:dLbl>
              <c:idx val="6"/>
              <c:tx>
                <c:rich>
                  <a:bodyPr/>
                  <a:lstStyle/>
                  <a:p>
                    <a:fld id="{82E9CD15-0381-445D-A456-549DAEBE52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2B3-43D4-BD21-895ACA67225E}"/>
                </c:ext>
              </c:extLst>
            </c:dLbl>
            <c:dLbl>
              <c:idx val="7"/>
              <c:tx>
                <c:rich>
                  <a:bodyPr/>
                  <a:lstStyle/>
                  <a:p>
                    <a:fld id="{3E4BF272-917A-4D37-9DD8-780D48FFD9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2B3-43D4-BD21-895ACA67225E}"/>
                </c:ext>
              </c:extLst>
            </c:dLbl>
            <c:dLbl>
              <c:idx val="8"/>
              <c:tx>
                <c:rich>
                  <a:bodyPr/>
                  <a:lstStyle/>
                  <a:p>
                    <a:fld id="{9ED058A4-528C-4400-9D5F-957197C086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2B3-43D4-BD21-895ACA67225E}"/>
                </c:ext>
              </c:extLst>
            </c:dLbl>
            <c:dLbl>
              <c:idx val="9"/>
              <c:tx>
                <c:rich>
                  <a:bodyPr/>
                  <a:lstStyle/>
                  <a:p>
                    <a:r>
                      <a:t>10</a:t>
                    </a: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2B3-43D4-BD21-895ACA67225E}"/>
                </c:ext>
              </c:extLst>
            </c:dLbl>
            <c:dLbl>
              <c:idx val="10"/>
              <c:tx>
                <c:rich>
                  <a:bodyPr/>
                  <a:lstStyle/>
                  <a:p>
                    <a:fld id="{39987B59-44D5-4A23-A0CC-537A2B9AE6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2B3-43D4-BD21-895ACA67225E}"/>
                </c:ext>
              </c:extLst>
            </c:dLbl>
            <c:dLbl>
              <c:idx val="11"/>
              <c:tx>
                <c:rich>
                  <a:bodyPr/>
                  <a:lstStyle/>
                  <a:p>
                    <a:fld id="{A025EA93-FBA3-44A5-9BAD-7434E5B647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2B3-43D4-BD21-895ACA67225E}"/>
                </c:ext>
              </c:extLst>
            </c:dLbl>
            <c:dLbl>
              <c:idx val="12"/>
              <c:tx>
                <c:rich>
                  <a:bodyPr/>
                  <a:lstStyle/>
                  <a:p>
                    <a:fld id="{E19EBF00-1C78-4571-A21D-B148632840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2B3-43D4-BD21-895ACA67225E}"/>
                </c:ext>
              </c:extLst>
            </c:dLbl>
            <c:dLbl>
              <c:idx val="13"/>
              <c:tx>
                <c:rich>
                  <a:bodyPr/>
                  <a:lstStyle/>
                  <a:p>
                    <a:fld id="{0702EF61-67C8-4479-A4B1-A8160EF107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2B3-43D4-BD21-895ACA67225E}"/>
                </c:ext>
              </c:extLst>
            </c:dLbl>
            <c:dLbl>
              <c:idx val="14"/>
              <c:tx>
                <c:rich>
                  <a:bodyPr/>
                  <a:lstStyle/>
                  <a:p>
                    <a:fld id="{696FA1D3-681E-413E-ADE3-9937B2C3A0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2B3-43D4-BD21-895ACA67225E}"/>
                </c:ext>
              </c:extLst>
            </c:dLbl>
            <c:dLbl>
              <c:idx val="15"/>
              <c:tx>
                <c:rich>
                  <a:bodyPr/>
                  <a:lstStyle/>
                  <a:p>
                    <a:fld id="{71EE34EC-CA8E-4195-BD27-BF2CFBE87E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2B3-43D4-BD21-895ACA67225E}"/>
                </c:ext>
              </c:extLst>
            </c:dLbl>
            <c:dLbl>
              <c:idx val="16"/>
              <c:tx>
                <c:rich>
                  <a:bodyPr/>
                  <a:lstStyle/>
                  <a:p>
                    <a:fld id="{1CE685A1-F445-4445-A2D1-9646B2FE26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2B3-43D4-BD21-895ACA67225E}"/>
                </c:ext>
              </c:extLst>
            </c:dLbl>
            <c:dLbl>
              <c:idx val="17"/>
              <c:tx>
                <c:rich>
                  <a:bodyPr/>
                  <a:lstStyle/>
                  <a:p>
                    <a:fld id="{1DE3C106-5D79-4BC7-B01B-1D0026C4E1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2B3-43D4-BD21-895ACA67225E}"/>
                </c:ext>
              </c:extLst>
            </c:dLbl>
            <c:dLbl>
              <c:idx val="18"/>
              <c:tx>
                <c:rich>
                  <a:bodyPr/>
                  <a:lstStyle/>
                  <a:p>
                    <a:fld id="{7624CBEF-8799-4780-A794-EA8F983756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2B3-43D4-BD21-895ACA67225E}"/>
                </c:ext>
              </c:extLst>
            </c:dLbl>
            <c:dLbl>
              <c:idx val="19"/>
              <c:tx>
                <c:rich>
                  <a:bodyPr/>
                  <a:lstStyle/>
                  <a:p>
                    <a:fld id="{8C056091-202B-4216-879E-50F1252902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2B3-43D4-BD21-895ACA67225E}"/>
                </c:ext>
              </c:extLst>
            </c:dLbl>
            <c:dLbl>
              <c:idx val="20"/>
              <c:tx>
                <c:rich>
                  <a:bodyPr/>
                  <a:lstStyle/>
                  <a:p>
                    <a:fld id="{D991BF20-C2FA-414F-8767-E127819679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2B3-43D4-BD21-895ACA67225E}"/>
                </c:ext>
              </c:extLst>
            </c:dLbl>
            <c:dLbl>
              <c:idx val="21"/>
              <c:tx>
                <c:rich>
                  <a:bodyPr/>
                  <a:lstStyle/>
                  <a:p>
                    <a:fld id="{A5E152C3-8CAC-48C9-A1E1-AED478398F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66A5-42F8-9CB2-D500C2C49522}"/>
                </c:ext>
              </c:extLst>
            </c:dLbl>
            <c:dLbl>
              <c:idx val="22"/>
              <c:tx>
                <c:rich>
                  <a:bodyPr/>
                  <a:lstStyle/>
                  <a:p>
                    <a:fld id="{0651A758-DFB0-4FFE-8354-12AC6960D9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6A5-42F8-9CB2-D500C2C49522}"/>
                </c:ext>
              </c:extLst>
            </c:dLbl>
            <c:dLbl>
              <c:idx val="23"/>
              <c:tx>
                <c:rich>
                  <a:bodyPr/>
                  <a:lstStyle/>
                  <a:p>
                    <a:fld id="{8C48D609-E5B6-49F5-B614-DFF5355AC5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79-43B7-8A1A-3B973BF29255}"/>
                </c:ext>
              </c:extLst>
            </c:dLbl>
            <c:dLbl>
              <c:idx val="24"/>
              <c:tx>
                <c:rich>
                  <a:bodyPr/>
                  <a:lstStyle/>
                  <a:p>
                    <a:fld id="{E5BEE26A-198F-4084-9934-85714D877D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79-43B7-8A1A-3B973BF29255}"/>
                </c:ext>
              </c:extLst>
            </c:dLbl>
            <c:dLbl>
              <c:idx val="25"/>
              <c:tx>
                <c:rich>
                  <a:bodyPr/>
                  <a:lstStyle/>
                  <a:p>
                    <a:fld id="{07F8639C-C249-4FDF-8B01-A1D280010E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79-43B7-8A1A-3B973BF29255}"/>
                </c:ext>
              </c:extLst>
            </c:dLbl>
            <c:dLbl>
              <c:idx val="26"/>
              <c:tx>
                <c:rich>
                  <a:bodyPr/>
                  <a:lstStyle/>
                  <a:p>
                    <a:fld id="{5799E364-D83A-47FA-BD09-B52FF795E4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79-43B7-8A1A-3B973BF29255}"/>
                </c:ext>
              </c:extLst>
            </c:dLbl>
            <c:dLbl>
              <c:idx val="27"/>
              <c:tx>
                <c:rich>
                  <a:bodyPr/>
                  <a:lstStyle/>
                  <a:p>
                    <a:fld id="{433A6FFE-DC98-496B-A731-9FDEDDFF09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79-43B7-8A1A-3B973BF29255}"/>
                </c:ext>
              </c:extLst>
            </c:dLbl>
            <c:dLbl>
              <c:idx val="28"/>
              <c:tx>
                <c:rich>
                  <a:bodyPr/>
                  <a:lstStyle/>
                  <a:p>
                    <a:fld id="{B6601CBA-185B-45C2-81C7-2A100B4E33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FE79-43B7-8A1A-3B973BF29255}"/>
                </c:ext>
              </c:extLst>
            </c:dLbl>
            <c:dLbl>
              <c:idx val="29"/>
              <c:tx>
                <c:rich>
                  <a:bodyPr/>
                  <a:lstStyle/>
                  <a:p>
                    <a:fld id="{BA20630D-9537-4279-8E4D-B2B2318B34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FE79-43B7-8A1A-3B973BF29255}"/>
                </c:ext>
              </c:extLst>
            </c:dLbl>
            <c:dLbl>
              <c:idx val="30"/>
              <c:tx>
                <c:rich>
                  <a:bodyPr/>
                  <a:lstStyle/>
                  <a:p>
                    <a:fld id="{77CE0D38-8B64-49EB-8D52-913286EFBF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FE79-43B7-8A1A-3B973BF29255}"/>
                </c:ext>
              </c:extLst>
            </c:dLbl>
            <c:dLbl>
              <c:idx val="31"/>
              <c:tx>
                <c:rich>
                  <a:bodyPr/>
                  <a:lstStyle/>
                  <a:p>
                    <a:fld id="{80722CFF-D9FE-4C3E-B52D-F620ACA5BA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FE79-43B7-8A1A-3B973BF29255}"/>
                </c:ext>
              </c:extLst>
            </c:dLbl>
            <c:dLbl>
              <c:idx val="32"/>
              <c:tx>
                <c:rich>
                  <a:bodyPr/>
                  <a:lstStyle/>
                  <a:p>
                    <a:fld id="{2706C2D0-C471-4B74-8DCD-1D9BE2617D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FE79-43B7-8A1A-3B973BF29255}"/>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1</c:f>
              <c:numCache>
                <c:formatCode>General</c:formatCode>
                <c:ptCount val="10"/>
                <c:pt idx="0">
                  <c:v>0.0019944169089776698</c:v>
                </c:pt>
                <c:pt idx="1">
                  <c:v>-0.0144787317056288</c:v>
                </c:pt>
                <c:pt idx="2">
                  <c:v>0.028894879189037992</c:v>
                </c:pt>
                <c:pt idx="3">
                  <c:v>0.008336730637019646</c:v>
                </c:pt>
                <c:pt idx="4">
                  <c:v>-0.024150327572344976</c:v>
                </c:pt>
                <c:pt idx="5">
                  <c:v>0.01539571899379194</c:v>
                </c:pt>
                <c:pt idx="6">
                  <c:v>0.00760647179061906</c:v>
                </c:pt>
                <c:pt idx="7">
                  <c:v>-0.0026945881605931754</c:v>
                </c:pt>
                <c:pt idx="8">
                  <c:v>0.008444440038210821</c:v>
                </c:pt>
                <c:pt idx="9">
                  <c:v>0.006229369629771164</c:v>
                </c:pt>
              </c:numCache>
            </c:numRef>
          </c:xVal>
          <c:yVal>
            <c:numRef>
              <c:f>Sheet1!$B$2:$B$11</c:f>
              <c:numCache>
                <c:formatCode>General</c:formatCode>
                <c:ptCount val="10"/>
                <c:pt idx="0">
                  <c:v>-0.025400742970360102</c:v>
                </c:pt>
                <c:pt idx="1">
                  <c:v>0.006372680196070124</c:v>
                </c:pt>
                <c:pt idx="2">
                  <c:v>0.024643776628135772</c:v>
                </c:pt>
                <c:pt idx="3">
                  <c:v>0.018606733988965563</c:v>
                </c:pt>
                <c:pt idx="4">
                  <c:v>-0.028919033111566933</c:v>
                </c:pt>
                <c:pt idx="5">
                  <c:v>0.014293096690036422</c:v>
                </c:pt>
                <c:pt idx="6">
                  <c:v>0.007459732699290816</c:v>
                </c:pt>
                <c:pt idx="7">
                  <c:v>-0.00834448798289647</c:v>
                </c:pt>
                <c:pt idx="8">
                  <c:v>0.007641243203236087</c:v>
                </c:pt>
                <c:pt idx="9">
                  <c:v>0.011781618705277677</c:v>
                </c:pt>
              </c:numCache>
            </c:numRef>
          </c:yVal>
          <c:bubbleSize>
            <c:numRef>
              <c:f>Sheet1!$C$2:$C$11</c:f>
              <c:numCache>
                <c:formatCode>General</c:formatCode>
                <c:ptCount val="10"/>
                <c:pt idx="0">
                  <c:v>30468308.0</c:v>
                </c:pt>
                <c:pt idx="1">
                  <c:v>22613796.0</c:v>
                </c:pt>
                <c:pt idx="2">
                  <c:v>22557022.0</c:v>
                </c:pt>
                <c:pt idx="3">
                  <c:v>21233281.0</c:v>
                </c:pt>
                <c:pt idx="4">
                  <c:v>19313906.0</c:v>
                </c:pt>
                <c:pt idx="5">
                  <c:v>16396938.0</c:v>
                </c:pt>
                <c:pt idx="6">
                  <c:v>10731593.0</c:v>
                </c:pt>
                <c:pt idx="7">
                  <c:v>10594194.0</c:v>
                </c:pt>
                <c:pt idx="8">
                  <c:v>8292955.0</c:v>
                </c:pt>
                <c:pt idx="9">
                  <c:v>5799659.0</c:v>
                </c:pt>
              </c:numCache>
            </c:numRef>
          </c:bubbleSize>
          <c:bubble3D val="0"/>
          <c:extLst>
            <c:ext xmlns:c15="http://schemas.microsoft.com/office/drawing/2012/chart" uri="{02D57815-91ED-43cb-92C2-25804820EDAC}">
              <c15:datalabelsRange>
                <c15:f>Sheet1!$D$2:$D$34</c15:f>
                <c15:dlblRangeCache>
                  <c:ptCount val="3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 </c:v>
                  </c:pt>
                  <c:pt idx="22">
                    <c:v>23 </c:v>
                  </c:pt>
                  <c:pt idx="23">
                    <c:v>24 </c:v>
                  </c:pt>
                  <c:pt idx="24">
                    <c:v>25 </c:v>
                  </c:pt>
                  <c:pt idx="25">
                    <c:v>26 </c:v>
                  </c:pt>
                  <c:pt idx="26">
                    <c:v>27 </c:v>
                  </c:pt>
                  <c:pt idx="27">
                    <c:v>28 </c:v>
                  </c:pt>
                  <c:pt idx="28">
                    <c:v>29 </c:v>
                  </c:pt>
                  <c:pt idx="29">
                    <c:v>30 </c:v>
                  </c:pt>
                  <c:pt idx="30">
                    <c:v>31 </c:v>
                  </c:pt>
                  <c:pt idx="31">
                    <c:v>32 </c:v>
                  </c:pt>
                  <c:pt idx="32">
                    <c:v>33 </c:v>
                  </c:pt>
                </c15:dlblRangeCache>
              </c15:datalabelsRange>
            </c:ext>
            <c:ext xmlns:c16="http://schemas.microsoft.com/office/drawing/2014/chart" uri="{C3380CC4-5D6E-409C-BE32-E72D297353CC}">
              <c16:uniqueId val="{00000000-E8D7-5D40-8192-48D91D141F56}"/>
            </c:ext>
          </c:extLst>
        </c:ser>
        <c:dLbls>
          <c:showLegendKey val="0"/>
          <c:showVal val="0"/>
          <c:showCatName val="0"/>
          <c:showSerName val="0"/>
          <c:showPercent val="0"/>
          <c:showBubbleSize val="0"/>
        </c:dLbls>
        <c:bubbleScale val="50"/>
        <c:showNegBubbles val="0"/>
        <c:axId val="1389925551"/>
        <c:axId val="1389927199"/>
      </c:bubbleChart>
      <c:valAx>
        <c:axId val="1389925551"/>
        <c:scaling>
          <c:orientation val="minMax"/>
        </c:scaling>
        <c:delete val="0"/>
        <c:axPos val="b"/>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7199"/>
        <c:crossesAt val="0.0028134618046188956"/>
        <c:crossBetween val="midCat"/>
      </c:valAx>
      <c:valAx>
        <c:axId val="1389927199"/>
        <c:scaling>
          <c:orientation val="minMax"/>
        </c:scaling>
        <c:delete val="0"/>
        <c:axPos val="l"/>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5551"/>
        <c:crossesAt val="0.003557837974886134"/>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374238658678002E-2"/>
          <c:y val="3.5678372632186241E-2"/>
          <c:w val="0.92883189647221065"/>
          <c:h val="0.87708287481703862"/>
        </c:manualLayout>
      </c:layout>
      <c:bubbleChart>
        <c:varyColors val="0"/>
        <c:ser>
          <c:idx val="0"/>
          <c:order val="0"/>
          <c:tx>
            <c:strRef>
              <c:f>Sheet1!$B$1</c:f>
              <c:strCache>
                <c:ptCount val="1"/>
                <c:pt idx="0">
                  <c:v>P3M Value Share</c:v>
                </c:pt>
              </c:strCache>
            </c:strRef>
          </c:tx>
          <c:spPr>
            <a:solidFill>
              <a:schemeClr val="bg1"/>
            </a:solidFill>
            <a:ln w="3175">
              <a:solidFill>
                <a:schemeClr val="tx2"/>
              </a:solidFill>
            </a:ln>
            <a:effectLst/>
          </c:spPr>
          <c:invertIfNegative val="0"/>
          <c:dPt>
            <c:idx val="2"/>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2-C625-D64F-9EE6-A56E35D3C48D}"/>
              </c:ext>
            </c:extLst>
          </c:dPt>
          <c:dPt>
            <c:idx val="3"/>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3-C625-D64F-9EE6-A56E35D3C48D}"/>
              </c:ext>
            </c:extLst>
          </c:dPt>
          <c:dLbls>
            <c:dLbl>
              <c:idx val="0"/>
              <c:tx>
                <c:rich>
                  <a:bodyPr/>
                  <a:lstStyle/>
                  <a:p>
                    <a:fld id="{221FC6A0-6653-4F33-B59A-57C4EE0267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625-D64F-9EE6-A56E35D3C48D}"/>
                </c:ext>
              </c:extLst>
            </c:dLbl>
            <c:dLbl>
              <c:idx val="1"/>
              <c:tx>
                <c:rich>
                  <a:bodyPr/>
                  <a:lstStyle/>
                  <a:p>
                    <a:fld id="{D1D90B0E-4C72-495D-8864-2510F21349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25-D64F-9EE6-A56E35D3C48D}"/>
                </c:ext>
              </c:extLst>
            </c:dLbl>
            <c:dLbl>
              <c:idx val="2"/>
              <c:tx>
                <c:rich>
                  <a:bodyPr/>
                  <a:lstStyle/>
                  <a:p>
                    <a:fld id="{AA2F544D-7B62-43AE-A05A-1660EB9C8A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25-D64F-9EE6-A56E35D3C48D}"/>
                </c:ext>
              </c:extLst>
            </c:dLbl>
            <c:dLbl>
              <c:idx val="3"/>
              <c:tx>
                <c:rich>
                  <a:bodyPr/>
                  <a:lstStyle/>
                  <a:p>
                    <a:fld id="{63ED9FC9-0062-49CC-B224-DEADD81413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25-D64F-9EE6-A56E35D3C48D}"/>
                </c:ext>
              </c:extLst>
            </c:dLbl>
            <c:dLbl>
              <c:idx val="4"/>
              <c:tx>
                <c:rich>
                  <a:bodyPr/>
                  <a:lstStyle/>
                  <a:p>
                    <a:fld id="{524EB115-EC5C-4E13-9FBE-49BECF0201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2B3-43D4-BD21-895ACA67225E}"/>
                </c:ext>
              </c:extLst>
            </c:dLbl>
            <c:dLbl>
              <c:idx val="5"/>
              <c:tx>
                <c:rich>
                  <a:bodyPr/>
                  <a:lstStyle/>
                  <a:p>
                    <a:fld id="{4B2DE152-A1A3-42CA-B3C9-05AC16A7B4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2B3-43D4-BD21-895ACA67225E}"/>
                </c:ext>
              </c:extLst>
            </c:dLbl>
            <c:dLbl>
              <c:idx val="6"/>
              <c:tx>
                <c:rich>
                  <a:bodyPr/>
                  <a:lstStyle/>
                  <a:p>
                    <a:fld id="{17DE1F0F-BABE-4EE8-955C-0CB0540AAB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2B3-43D4-BD21-895ACA67225E}"/>
                </c:ext>
              </c:extLst>
            </c:dLbl>
            <c:dLbl>
              <c:idx val="7"/>
              <c:tx>
                <c:rich>
                  <a:bodyPr/>
                  <a:lstStyle/>
                  <a:p>
                    <a:fld id="{03CB4937-4F3A-4728-9F3F-EE6770FE7A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2B3-43D4-BD21-895ACA67225E}"/>
                </c:ext>
              </c:extLst>
            </c:dLbl>
            <c:dLbl>
              <c:idx val="8"/>
              <c:tx>
                <c:rich>
                  <a:bodyPr/>
                  <a:lstStyle/>
                  <a:p>
                    <a:fld id="{04D1D43C-C2C1-47F9-9230-D8E01AE6D2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2B3-43D4-BD21-895ACA67225E}"/>
                </c:ext>
              </c:extLst>
            </c:dLbl>
            <c:dLbl>
              <c:idx val="9"/>
              <c:tx>
                <c:rich>
                  <a:bodyPr/>
                  <a:lstStyle/>
                  <a:p>
                    <a:fld id="{622F3224-AAD3-4CC9-9EEB-73BEA1D917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2B3-43D4-BD21-895ACA67225E}"/>
                </c:ext>
              </c:extLst>
            </c:dLbl>
            <c:dLbl>
              <c:idx val="10"/>
              <c:tx>
                <c:rich>
                  <a:bodyPr/>
                  <a:lstStyle/>
                  <a:p>
                    <a:fld id="{0777E07B-4049-4DB0-B5B9-6CADABE9BF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2B3-43D4-BD21-895ACA67225E}"/>
                </c:ext>
              </c:extLst>
            </c:dLbl>
            <c:dLbl>
              <c:idx val="11"/>
              <c:tx>
                <c:rich>
                  <a:bodyPr/>
                  <a:lstStyle/>
                  <a:p>
                    <a:fld id="{2608D6A5-A037-4254-A6E3-82009C3BE3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2B3-43D4-BD21-895ACA67225E}"/>
                </c:ext>
              </c:extLst>
            </c:dLbl>
            <c:dLbl>
              <c:idx val="12"/>
              <c:tx>
                <c:rich>
                  <a:bodyPr/>
                  <a:lstStyle/>
                  <a:p>
                    <a:r>
                      <a:t>13</a:t>
                    </a: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2B3-43D4-BD21-895ACA67225E}"/>
                </c:ext>
              </c:extLst>
            </c:dLbl>
            <c:dLbl>
              <c:idx val="13"/>
              <c:tx>
                <c:rich>
                  <a:bodyPr/>
                  <a:lstStyle/>
                  <a:p>
                    <a:fld id="{F6EC8767-7F2A-4A41-965F-5937B94B70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2B3-43D4-BD21-895ACA67225E}"/>
                </c:ext>
              </c:extLst>
            </c:dLbl>
            <c:dLbl>
              <c:idx val="14"/>
              <c:tx>
                <c:rich>
                  <a:bodyPr/>
                  <a:lstStyle/>
                  <a:p>
                    <a:fld id="{5CF7DB05-4A83-4113-B70E-7353E6F46B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2B3-43D4-BD21-895ACA67225E}"/>
                </c:ext>
              </c:extLst>
            </c:dLbl>
            <c:dLbl>
              <c:idx val="15"/>
              <c:tx>
                <c:rich>
                  <a:bodyPr/>
                  <a:lstStyle/>
                  <a:p>
                    <a:fld id="{C3DE83EA-D2FF-497D-8FFD-F2989F7504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2B3-43D4-BD21-895ACA67225E}"/>
                </c:ext>
              </c:extLst>
            </c:dLbl>
            <c:dLbl>
              <c:idx val="16"/>
              <c:tx>
                <c:rich>
                  <a:bodyPr/>
                  <a:lstStyle/>
                  <a:p>
                    <a:fld id="{40692448-2DAD-4C72-8E83-7EBA37C155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2B3-43D4-BD21-895ACA67225E}"/>
                </c:ext>
              </c:extLst>
            </c:dLbl>
            <c:dLbl>
              <c:idx val="17"/>
              <c:tx>
                <c:rich>
                  <a:bodyPr/>
                  <a:lstStyle/>
                  <a:p>
                    <a:fld id="{43A1C38D-6CA7-4A46-AD5F-D38ADED43C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2B3-43D4-BD21-895ACA67225E}"/>
                </c:ext>
              </c:extLst>
            </c:dLbl>
            <c:dLbl>
              <c:idx val="18"/>
              <c:tx>
                <c:rich>
                  <a:bodyPr/>
                  <a:lstStyle/>
                  <a:p>
                    <a:fld id="{78B0A2FF-5249-4C25-8966-2030AD0590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2B3-43D4-BD21-895ACA67225E}"/>
                </c:ext>
              </c:extLst>
            </c:dLbl>
            <c:dLbl>
              <c:idx val="19"/>
              <c:tx>
                <c:rich>
                  <a:bodyPr/>
                  <a:lstStyle/>
                  <a:p>
                    <a:fld id="{485AF145-6A1A-4BDB-A257-E559A1CE8F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2B3-43D4-BD21-895ACA67225E}"/>
                </c:ext>
              </c:extLst>
            </c:dLbl>
            <c:dLbl>
              <c:idx val="20"/>
              <c:tx>
                <c:rich>
                  <a:bodyPr/>
                  <a:lstStyle/>
                  <a:p>
                    <a:fld id="{B19ACF8C-5D64-4207-8995-0762DF1CF9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2B3-43D4-BD21-895ACA67225E}"/>
                </c:ext>
              </c:extLst>
            </c:dLbl>
            <c:dLbl>
              <c:idx val="21"/>
              <c:tx>
                <c:rich>
                  <a:bodyPr/>
                  <a:lstStyle/>
                  <a:p>
                    <a:fld id="{A82B897D-4049-47DC-9E1D-1D518B86AD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66A5-42F8-9CB2-D500C2C49522}"/>
                </c:ext>
              </c:extLst>
            </c:dLbl>
            <c:dLbl>
              <c:idx val="22"/>
              <c:tx>
                <c:rich>
                  <a:bodyPr/>
                  <a:lstStyle/>
                  <a:p>
                    <a:fld id="{57B0E2F8-9F13-4A05-B88F-CE06727203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6A5-42F8-9CB2-D500C2C49522}"/>
                </c:ext>
              </c:extLst>
            </c:dLbl>
            <c:dLbl>
              <c:idx val="23"/>
              <c:tx>
                <c:rich>
                  <a:bodyPr/>
                  <a:lstStyle/>
                  <a:p>
                    <a:fld id="{7C04D7E3-0559-484D-B49C-B1BBEEC405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79-43B7-8A1A-3B973BF29255}"/>
                </c:ext>
              </c:extLst>
            </c:dLbl>
            <c:dLbl>
              <c:idx val="24"/>
              <c:tx>
                <c:rich>
                  <a:bodyPr/>
                  <a:lstStyle/>
                  <a:p>
                    <a:fld id="{CE1132D1-75E3-43EC-8FB4-E8F647AA6D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79-43B7-8A1A-3B973BF29255}"/>
                </c:ext>
              </c:extLst>
            </c:dLbl>
            <c:dLbl>
              <c:idx val="25"/>
              <c:tx>
                <c:rich>
                  <a:bodyPr/>
                  <a:lstStyle/>
                  <a:p>
                    <a:fld id="{023B69C5-A3CF-421D-A417-2914FDBD83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79-43B7-8A1A-3B973BF29255}"/>
                </c:ext>
              </c:extLst>
            </c:dLbl>
            <c:dLbl>
              <c:idx val="26"/>
              <c:tx>
                <c:rich>
                  <a:bodyPr/>
                  <a:lstStyle/>
                  <a:p>
                    <a:fld id="{C8CA132F-264E-44C3-95F8-0070C94C03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79-43B7-8A1A-3B973BF29255}"/>
                </c:ext>
              </c:extLst>
            </c:dLbl>
            <c:dLbl>
              <c:idx val="27"/>
              <c:tx>
                <c:rich>
                  <a:bodyPr/>
                  <a:lstStyle/>
                  <a:p>
                    <a:fld id="{725D651B-F437-45EE-AE22-F12945A64B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79-43B7-8A1A-3B973BF29255}"/>
                </c:ext>
              </c:extLst>
            </c:dLbl>
            <c:dLbl>
              <c:idx val="28"/>
              <c:tx>
                <c:rich>
                  <a:bodyPr/>
                  <a:lstStyle/>
                  <a:p>
                    <a:fld id="{CC14CF47-8F55-43EB-BE30-21BE3065D6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FE79-43B7-8A1A-3B973BF29255}"/>
                </c:ext>
              </c:extLst>
            </c:dLbl>
            <c:dLbl>
              <c:idx val="29"/>
              <c:tx>
                <c:rich>
                  <a:bodyPr/>
                  <a:lstStyle/>
                  <a:p>
                    <a:fld id="{17D685F5-DACB-4EB4-9CCA-7526243CBC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FE79-43B7-8A1A-3B973BF29255}"/>
                </c:ext>
              </c:extLst>
            </c:dLbl>
            <c:dLbl>
              <c:idx val="30"/>
              <c:tx>
                <c:rich>
                  <a:bodyPr/>
                  <a:lstStyle/>
                  <a:p>
                    <a:fld id="{73B477AA-B7BD-4BF8-B5EF-C730AA4034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FE79-43B7-8A1A-3B973BF29255}"/>
                </c:ext>
              </c:extLst>
            </c:dLbl>
            <c:dLbl>
              <c:idx val="31"/>
              <c:tx>
                <c:rich>
                  <a:bodyPr/>
                  <a:lstStyle/>
                  <a:p>
                    <a:fld id="{76E0A803-D071-4EF0-9DBF-7D673C0C74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FE79-43B7-8A1A-3B973BF29255}"/>
                </c:ext>
              </c:extLst>
            </c:dLbl>
            <c:dLbl>
              <c:idx val="32"/>
              <c:tx>
                <c:rich>
                  <a:bodyPr/>
                  <a:lstStyle/>
                  <a:p>
                    <a:fld id="{EA18F246-4652-46D0-8DF2-5AB75E339A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FE79-43B7-8A1A-3B973BF29255}"/>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4</c:f>
              <c:numCache>
                <c:formatCode>General</c:formatCode>
                <c:ptCount val="13"/>
                <c:pt idx="0">
                  <c:v>0.00802003257460765</c:v>
                </c:pt>
                <c:pt idx="1">
                  <c:v>0.041125386423628396</c:v>
                </c:pt>
                <c:pt idx="2">
                  <c:v>-0.00694323386975737</c:v>
                </c:pt>
                <c:pt idx="3">
                  <c:v>0.016126440393320562</c:v>
                </c:pt>
                <c:pt idx="4">
                  <c:v>-0.034278747348591654</c:v>
                </c:pt>
                <c:pt idx="5">
                  <c:v>-0.0026172930709172093</c:v>
                </c:pt>
                <c:pt idx="6">
                  <c:v>-0.015794315397958114</c:v>
                </c:pt>
                <c:pt idx="7">
                  <c:v>-0.003476109247528239</c:v>
                </c:pt>
                <c:pt idx="8">
                  <c:v>0.038609300190625556</c:v>
                </c:pt>
                <c:pt idx="9">
                  <c:v>-0.02215968394311281</c:v>
                </c:pt>
                <c:pt idx="10">
                  <c:v>-0.0029616338911365205</c:v>
                </c:pt>
                <c:pt idx="11">
                  <c:v>0.00034650669276188595</c:v>
                </c:pt>
                <c:pt idx="12">
                  <c:v>7.148203296867518e-07</c:v>
                </c:pt>
              </c:numCache>
            </c:numRef>
          </c:xVal>
          <c:yVal>
            <c:numRef>
              <c:f>Sheet1!$B$2:$B$14</c:f>
              <c:numCache>
                <c:formatCode>General</c:formatCode>
                <c:ptCount val="13"/>
                <c:pt idx="0">
                  <c:v>0.01134454544063962</c:v>
                </c:pt>
                <c:pt idx="1">
                  <c:v>0.04184384015149606</c:v>
                </c:pt>
                <c:pt idx="2">
                  <c:v>-0.02529790207202781</c:v>
                </c:pt>
                <c:pt idx="3">
                  <c:v>0.022403379644771626</c:v>
                </c:pt>
                <c:pt idx="4">
                  <c:v>-0.05194657609086256</c:v>
                </c:pt>
                <c:pt idx="5">
                  <c:v>-0.025591011469155156</c:v>
                </c:pt>
                <c:pt idx="6">
                  <c:v>-0.007571663426298211</c:v>
                </c:pt>
                <c:pt idx="7">
                  <c:v>-0.0016381527987664318</c:v>
                </c:pt>
                <c:pt idx="8">
                  <c:v>0.03824737150891874</c:v>
                </c:pt>
                <c:pt idx="9">
                  <c:v>0.004606373446908438</c:v>
                </c:pt>
                <c:pt idx="10">
                  <c:v>-0.007837980901360146</c:v>
                </c:pt>
                <c:pt idx="11">
                  <c:v>-0.0054833979885152455</c:v>
                </c:pt>
                <c:pt idx="12">
                  <c:v>8.765991781950135e-07</c:v>
                </c:pt>
              </c:numCache>
            </c:numRef>
          </c:yVal>
          <c:bubbleSize>
            <c:numRef>
              <c:f>Sheet1!$C$2:$C$14</c:f>
              <c:numCache>
                <c:formatCode>General</c:formatCode>
                <c:ptCount val="13"/>
                <c:pt idx="0">
                  <c:v>30956719.0</c:v>
                </c:pt>
                <c:pt idx="1">
                  <c:v>30253337.0</c:v>
                </c:pt>
                <c:pt idx="2">
                  <c:v>16850297.0</c:v>
                </c:pt>
                <c:pt idx="3">
                  <c:v>16088426.0</c:v>
                </c:pt>
                <c:pt idx="4">
                  <c:v>14481315.0</c:v>
                </c:pt>
                <c:pt idx="5">
                  <c:v>14007524.0</c:v>
                </c:pt>
                <c:pt idx="6">
                  <c:v>12545434.0</c:v>
                </c:pt>
                <c:pt idx="7">
                  <c:v>12208672.0</c:v>
                </c:pt>
                <c:pt idx="8">
                  <c:v>12109563.0</c:v>
                </c:pt>
                <c:pt idx="9">
                  <c:v>11825696.0</c:v>
                </c:pt>
                <c:pt idx="10">
                  <c:v>1583106.0</c:v>
                </c:pt>
                <c:pt idx="11">
                  <c:v>802773.0</c:v>
                </c:pt>
                <c:pt idx="12">
                  <c:v>80.0</c:v>
                </c:pt>
              </c:numCache>
            </c:numRef>
          </c:bubbleSize>
          <c:bubble3D val="0"/>
          <c:extLst>
            <c:ext xmlns:c15="http://schemas.microsoft.com/office/drawing/2012/chart" uri="{02D57815-91ED-43cb-92C2-25804820EDAC}">
              <c15:datalabelsRange>
                <c15:f>Sheet1!$D$2:$D$34</c15:f>
                <c15:dlblRangeCache>
                  <c:ptCount val="3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 </c:v>
                  </c:pt>
                  <c:pt idx="22">
                    <c:v>23 </c:v>
                  </c:pt>
                  <c:pt idx="23">
                    <c:v>24 </c:v>
                  </c:pt>
                  <c:pt idx="24">
                    <c:v>25 </c:v>
                  </c:pt>
                  <c:pt idx="25">
                    <c:v>26 </c:v>
                  </c:pt>
                  <c:pt idx="26">
                    <c:v>27 </c:v>
                  </c:pt>
                  <c:pt idx="27">
                    <c:v>28 </c:v>
                  </c:pt>
                  <c:pt idx="28">
                    <c:v>29 </c:v>
                  </c:pt>
                  <c:pt idx="29">
                    <c:v>30 </c:v>
                  </c:pt>
                  <c:pt idx="30">
                    <c:v>31 </c:v>
                  </c:pt>
                  <c:pt idx="31">
                    <c:v>32 </c:v>
                  </c:pt>
                  <c:pt idx="32">
                    <c:v>33 </c:v>
                  </c:pt>
                </c15:dlblRangeCache>
              </c15:datalabelsRange>
            </c:ext>
            <c:ext xmlns:c16="http://schemas.microsoft.com/office/drawing/2014/chart" uri="{C3380CC4-5D6E-409C-BE32-E72D297353CC}">
              <c16:uniqueId val="{00000000-E8D7-5D40-8192-48D91D141F56}"/>
            </c:ext>
          </c:extLst>
        </c:ser>
        <c:dLbls>
          <c:showLegendKey val="0"/>
          <c:showVal val="0"/>
          <c:showCatName val="0"/>
          <c:showSerName val="0"/>
          <c:showPercent val="0"/>
          <c:showBubbleSize val="0"/>
        </c:dLbls>
        <c:bubbleScale val="50"/>
        <c:showNegBubbles val="0"/>
        <c:axId val="1389925551"/>
        <c:axId val="1389927199"/>
      </c:bubbleChart>
      <c:valAx>
        <c:axId val="1389925551"/>
        <c:scaling>
          <c:orientation val="minMax"/>
        </c:scaling>
        <c:delete val="0"/>
        <c:axPos val="b"/>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7199"/>
        <c:crossesAt val="-0.0005323306119286833"/>
        <c:crossBetween val="midCat"/>
      </c:valAx>
      <c:valAx>
        <c:axId val="1389927199"/>
        <c:scaling>
          <c:orientation val="minMax"/>
        </c:scaling>
        <c:delete val="0"/>
        <c:axPos val="l"/>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5551"/>
        <c:crossesAt val="0.001230566486636294"/>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374238658678002E-2"/>
          <c:y val="3.5678372632186241E-2"/>
          <c:w val="0.92883189647221065"/>
          <c:h val="0.87708287481703862"/>
        </c:manualLayout>
      </c:layout>
      <c:bubbleChart>
        <c:varyColors val="0"/>
        <c:ser>
          <c:idx val="0"/>
          <c:order val="0"/>
          <c:tx>
            <c:strRef>
              <c:f>Sheet1!$B$1</c:f>
              <c:strCache>
                <c:ptCount val="1"/>
                <c:pt idx="0">
                  <c:v>P3M Value Share</c:v>
                </c:pt>
              </c:strCache>
            </c:strRef>
          </c:tx>
          <c:spPr>
            <a:solidFill>
              <a:schemeClr val="bg1"/>
            </a:solidFill>
            <a:ln w="3175">
              <a:solidFill>
                <a:schemeClr val="tx2"/>
              </a:solidFill>
            </a:ln>
            <a:effectLst/>
          </c:spPr>
          <c:invertIfNegative val="0"/>
          <c:dPt>
            <c:idx val="2"/>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2-C625-D64F-9EE6-A56E35D3C48D}"/>
              </c:ext>
            </c:extLst>
          </c:dPt>
          <c:dPt>
            <c:idx val="3"/>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3-C625-D64F-9EE6-A56E35D3C48D}"/>
              </c:ext>
            </c:extLst>
          </c:dPt>
          <c:dLbls>
            <c:dLbl>
              <c:idx val="0"/>
              <c:tx>
                <c:rich>
                  <a:bodyPr/>
                  <a:lstStyle/>
                  <a:p>
                    <a:fld id="{254A3751-5ED8-4506-BEFB-9DBF60D9F1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625-D64F-9EE6-A56E35D3C48D}"/>
                </c:ext>
              </c:extLst>
            </c:dLbl>
            <c:dLbl>
              <c:idx val="1"/>
              <c:tx>
                <c:rich>
                  <a:bodyPr/>
                  <a:lstStyle/>
                  <a:p>
                    <a:fld id="{F5A7E260-298E-4164-BAF9-0687A95055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25-D64F-9EE6-A56E35D3C48D}"/>
                </c:ext>
              </c:extLst>
            </c:dLbl>
            <c:dLbl>
              <c:idx val="2"/>
              <c:tx>
                <c:rich>
                  <a:bodyPr/>
                  <a:lstStyle/>
                  <a:p>
                    <a:fld id="{2EC6E0D8-7846-4877-A857-4B8C0C28DD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25-D64F-9EE6-A56E35D3C48D}"/>
                </c:ext>
              </c:extLst>
            </c:dLbl>
            <c:dLbl>
              <c:idx val="3"/>
              <c:tx>
                <c:rich>
                  <a:bodyPr/>
                  <a:lstStyle/>
                  <a:p>
                    <a:fld id="{5819C5F3-F64E-4DF7-93EE-E64CA912B1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25-D64F-9EE6-A56E35D3C48D}"/>
                </c:ext>
              </c:extLst>
            </c:dLbl>
            <c:dLbl>
              <c:idx val="4"/>
              <c:tx>
                <c:rich>
                  <a:bodyPr/>
                  <a:lstStyle/>
                  <a:p>
                    <a:fld id="{9C3E8BC8-01C4-4646-9BBA-5D2DF9A684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2B3-43D4-BD21-895ACA67225E}"/>
                </c:ext>
              </c:extLst>
            </c:dLbl>
            <c:dLbl>
              <c:idx val="5"/>
              <c:tx>
                <c:rich>
                  <a:bodyPr/>
                  <a:lstStyle/>
                  <a:p>
                    <a:fld id="{B5961FC3-D1E2-479E-AFDA-365358D1A6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2B3-43D4-BD21-895ACA67225E}"/>
                </c:ext>
              </c:extLst>
            </c:dLbl>
            <c:dLbl>
              <c:idx val="6"/>
              <c:tx>
                <c:rich>
                  <a:bodyPr/>
                  <a:lstStyle/>
                  <a:p>
                    <a:fld id="{407C834F-521B-4701-B2F3-EA46D03859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2B3-43D4-BD21-895ACA67225E}"/>
                </c:ext>
              </c:extLst>
            </c:dLbl>
            <c:dLbl>
              <c:idx val="7"/>
              <c:tx>
                <c:rich>
                  <a:bodyPr/>
                  <a:lstStyle/>
                  <a:p>
                    <a:fld id="{3BB8D37B-ADE6-4095-9BED-FC7352D0E7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2B3-43D4-BD21-895ACA67225E}"/>
                </c:ext>
              </c:extLst>
            </c:dLbl>
            <c:dLbl>
              <c:idx val="8"/>
              <c:tx>
                <c:rich>
                  <a:bodyPr/>
                  <a:lstStyle/>
                  <a:p>
                    <a:fld id="{F976BDA6-6DA0-4A98-875E-ABFD71DAC2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2B3-43D4-BD21-895ACA67225E}"/>
                </c:ext>
              </c:extLst>
            </c:dLbl>
            <c:dLbl>
              <c:idx val="9"/>
              <c:tx>
                <c:rich>
                  <a:bodyPr/>
                  <a:lstStyle/>
                  <a:p>
                    <a:r>
                      <a:t>10</a:t>
                    </a: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2B3-43D4-BD21-895ACA67225E}"/>
                </c:ext>
              </c:extLst>
            </c:dLbl>
            <c:dLbl>
              <c:idx val="10"/>
              <c:tx>
                <c:rich>
                  <a:bodyPr/>
                  <a:lstStyle/>
                  <a:p>
                    <a:fld id="{921AE1C6-2029-483C-9405-D9946EA6DB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2B3-43D4-BD21-895ACA67225E}"/>
                </c:ext>
              </c:extLst>
            </c:dLbl>
            <c:dLbl>
              <c:idx val="11"/>
              <c:tx>
                <c:rich>
                  <a:bodyPr/>
                  <a:lstStyle/>
                  <a:p>
                    <a:fld id="{C4DCB504-839B-4E01-AB3D-A59C672B8D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2B3-43D4-BD21-895ACA67225E}"/>
                </c:ext>
              </c:extLst>
            </c:dLbl>
            <c:dLbl>
              <c:idx val="12"/>
              <c:tx>
                <c:rich>
                  <a:bodyPr/>
                  <a:lstStyle/>
                  <a:p>
                    <a:fld id="{0F6F3A3A-C754-4839-86AA-CA516E1325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2B3-43D4-BD21-895ACA67225E}"/>
                </c:ext>
              </c:extLst>
            </c:dLbl>
            <c:dLbl>
              <c:idx val="13"/>
              <c:tx>
                <c:rich>
                  <a:bodyPr/>
                  <a:lstStyle/>
                  <a:p>
                    <a:fld id="{9FCC4AB7-5C5B-4E79-A396-047BC622CD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2B3-43D4-BD21-895ACA67225E}"/>
                </c:ext>
              </c:extLst>
            </c:dLbl>
            <c:dLbl>
              <c:idx val="14"/>
              <c:tx>
                <c:rich>
                  <a:bodyPr/>
                  <a:lstStyle/>
                  <a:p>
                    <a:fld id="{5D591EF5-A537-4893-ACCF-3BBA6F95C5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2B3-43D4-BD21-895ACA67225E}"/>
                </c:ext>
              </c:extLst>
            </c:dLbl>
            <c:dLbl>
              <c:idx val="15"/>
              <c:tx>
                <c:rich>
                  <a:bodyPr/>
                  <a:lstStyle/>
                  <a:p>
                    <a:fld id="{0B03C11D-15DE-4A85-BEF0-F812612954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2B3-43D4-BD21-895ACA67225E}"/>
                </c:ext>
              </c:extLst>
            </c:dLbl>
            <c:dLbl>
              <c:idx val="16"/>
              <c:tx>
                <c:rich>
                  <a:bodyPr/>
                  <a:lstStyle/>
                  <a:p>
                    <a:fld id="{EDFA86E4-EFB2-4A67-9495-72391242F1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2B3-43D4-BD21-895ACA67225E}"/>
                </c:ext>
              </c:extLst>
            </c:dLbl>
            <c:dLbl>
              <c:idx val="17"/>
              <c:tx>
                <c:rich>
                  <a:bodyPr/>
                  <a:lstStyle/>
                  <a:p>
                    <a:fld id="{C9E5055C-D673-4786-B9F9-5CC614DC5A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2B3-43D4-BD21-895ACA67225E}"/>
                </c:ext>
              </c:extLst>
            </c:dLbl>
            <c:dLbl>
              <c:idx val="18"/>
              <c:tx>
                <c:rich>
                  <a:bodyPr/>
                  <a:lstStyle/>
                  <a:p>
                    <a:fld id="{ABACA685-C72E-4190-8740-56AD1ACC32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2B3-43D4-BD21-895ACA67225E}"/>
                </c:ext>
              </c:extLst>
            </c:dLbl>
            <c:dLbl>
              <c:idx val="19"/>
              <c:tx>
                <c:rich>
                  <a:bodyPr/>
                  <a:lstStyle/>
                  <a:p>
                    <a:fld id="{2FF219A9-330E-4309-B30A-E22A2C3D3B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2B3-43D4-BD21-895ACA67225E}"/>
                </c:ext>
              </c:extLst>
            </c:dLbl>
            <c:dLbl>
              <c:idx val="20"/>
              <c:tx>
                <c:rich>
                  <a:bodyPr/>
                  <a:lstStyle/>
                  <a:p>
                    <a:fld id="{2A49BF8B-09CF-446B-A17F-23CA8E5F82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2B3-43D4-BD21-895ACA67225E}"/>
                </c:ext>
              </c:extLst>
            </c:dLbl>
            <c:dLbl>
              <c:idx val="21"/>
              <c:tx>
                <c:rich>
                  <a:bodyPr/>
                  <a:lstStyle/>
                  <a:p>
                    <a:fld id="{35A4C2BE-FA57-44E9-9ACE-A2CEA5D6FF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66A5-42F8-9CB2-D500C2C49522}"/>
                </c:ext>
              </c:extLst>
            </c:dLbl>
            <c:dLbl>
              <c:idx val="22"/>
              <c:tx>
                <c:rich>
                  <a:bodyPr/>
                  <a:lstStyle/>
                  <a:p>
                    <a:fld id="{474E7F61-C7F6-4C5E-A160-44BB333F7D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6A5-42F8-9CB2-D500C2C49522}"/>
                </c:ext>
              </c:extLst>
            </c:dLbl>
            <c:dLbl>
              <c:idx val="23"/>
              <c:tx>
                <c:rich>
                  <a:bodyPr/>
                  <a:lstStyle/>
                  <a:p>
                    <a:fld id="{74381AB9-8502-4563-BB21-8C6E7F3591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79-43B7-8A1A-3B973BF29255}"/>
                </c:ext>
              </c:extLst>
            </c:dLbl>
            <c:dLbl>
              <c:idx val="24"/>
              <c:tx>
                <c:rich>
                  <a:bodyPr/>
                  <a:lstStyle/>
                  <a:p>
                    <a:fld id="{B6B52FDC-C23B-470D-A8FA-25A5CDB0AE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79-43B7-8A1A-3B973BF29255}"/>
                </c:ext>
              </c:extLst>
            </c:dLbl>
            <c:dLbl>
              <c:idx val="25"/>
              <c:tx>
                <c:rich>
                  <a:bodyPr/>
                  <a:lstStyle/>
                  <a:p>
                    <a:fld id="{1B0688E1-DDE0-4B43-B752-4DD23E4C00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79-43B7-8A1A-3B973BF29255}"/>
                </c:ext>
              </c:extLst>
            </c:dLbl>
            <c:dLbl>
              <c:idx val="26"/>
              <c:tx>
                <c:rich>
                  <a:bodyPr/>
                  <a:lstStyle/>
                  <a:p>
                    <a:fld id="{2D2CA284-04D7-483B-A90F-E452C4EA31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79-43B7-8A1A-3B973BF29255}"/>
                </c:ext>
              </c:extLst>
            </c:dLbl>
            <c:dLbl>
              <c:idx val="27"/>
              <c:tx>
                <c:rich>
                  <a:bodyPr/>
                  <a:lstStyle/>
                  <a:p>
                    <a:fld id="{C2EF3AEC-5323-41A2-A6D5-17F99C3D4D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79-43B7-8A1A-3B973BF29255}"/>
                </c:ext>
              </c:extLst>
            </c:dLbl>
            <c:dLbl>
              <c:idx val="28"/>
              <c:tx>
                <c:rich>
                  <a:bodyPr/>
                  <a:lstStyle/>
                  <a:p>
                    <a:fld id="{3CD9ECAD-46AD-4BBE-81D3-5969A1113D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FE79-43B7-8A1A-3B973BF29255}"/>
                </c:ext>
              </c:extLst>
            </c:dLbl>
            <c:dLbl>
              <c:idx val="29"/>
              <c:tx>
                <c:rich>
                  <a:bodyPr/>
                  <a:lstStyle/>
                  <a:p>
                    <a:fld id="{F6427064-6FC1-4F6F-8F00-F538F71F86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FE79-43B7-8A1A-3B973BF29255}"/>
                </c:ext>
              </c:extLst>
            </c:dLbl>
            <c:dLbl>
              <c:idx val="30"/>
              <c:tx>
                <c:rich>
                  <a:bodyPr/>
                  <a:lstStyle/>
                  <a:p>
                    <a:fld id="{108A962A-7C0F-4F46-8DBA-5229678479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FE79-43B7-8A1A-3B973BF29255}"/>
                </c:ext>
              </c:extLst>
            </c:dLbl>
            <c:dLbl>
              <c:idx val="31"/>
              <c:tx>
                <c:rich>
                  <a:bodyPr/>
                  <a:lstStyle/>
                  <a:p>
                    <a:fld id="{135EC907-8C52-4BCF-B3E8-C2875C971B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FE79-43B7-8A1A-3B973BF29255}"/>
                </c:ext>
              </c:extLst>
            </c:dLbl>
            <c:dLbl>
              <c:idx val="32"/>
              <c:tx>
                <c:rich>
                  <a:bodyPr/>
                  <a:lstStyle/>
                  <a:p>
                    <a:fld id="{F4819480-4B91-491B-8CAF-A2E8AEAF2F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FE79-43B7-8A1A-3B973BF29255}"/>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1</c:f>
              <c:numCache>
                <c:formatCode>General</c:formatCode>
                <c:ptCount val="10"/>
                <c:pt idx="0">
                  <c:v>0.0033020200796676225</c:v>
                </c:pt>
                <c:pt idx="1">
                  <c:v>-0.016588715220948624</c:v>
                </c:pt>
                <c:pt idx="2">
                  <c:v>0.006616806249291937</c:v>
                </c:pt>
                <c:pt idx="3">
                  <c:v>0.005780960177607791</c:v>
                </c:pt>
                <c:pt idx="4">
                  <c:v>-0.010318821225610356</c:v>
                </c:pt>
                <c:pt idx="5">
                  <c:v>0.006965074764335638</c:v>
                </c:pt>
                <c:pt idx="6">
                  <c:v>0.0006592331405637572</c:v>
                </c:pt>
                <c:pt idx="7">
                  <c:v>0.020019764344643164</c:v>
                </c:pt>
                <c:pt idx="8">
                  <c:v>-0.0020702689487082683</c:v>
                </c:pt>
                <c:pt idx="9">
                  <c:v>-0.0033823806485240634</c:v>
                </c:pt>
              </c:numCache>
            </c:numRef>
          </c:xVal>
          <c:yVal>
            <c:numRef>
              <c:f>Sheet1!$B$2:$B$11</c:f>
              <c:numCache>
                <c:formatCode>General</c:formatCode>
                <c:ptCount val="10"/>
                <c:pt idx="0">
                  <c:v>-0.00612542148230566</c:v>
                </c:pt>
                <c:pt idx="1">
                  <c:v>-0.025242361173256844</c:v>
                </c:pt>
                <c:pt idx="2">
                  <c:v>0.01986455555086622</c:v>
                </c:pt>
                <c:pt idx="3">
                  <c:v>0.01596333392349658</c:v>
                </c:pt>
                <c:pt idx="4">
                  <c:v>-0.009814810416832145</c:v>
                </c:pt>
                <c:pt idx="5">
                  <c:v>0.007541255842772307</c:v>
                </c:pt>
                <c:pt idx="6">
                  <c:v>-0.005751703461377253</c:v>
                </c:pt>
                <c:pt idx="7">
                  <c:v>0.0319287866768541</c:v>
                </c:pt>
                <c:pt idx="8">
                  <c:v>-0.002870022864424903</c:v>
                </c:pt>
                <c:pt idx="9">
                  <c:v>-0.006434663890920213</c:v>
                </c:pt>
              </c:numCache>
            </c:numRef>
          </c:yVal>
          <c:bubbleSize>
            <c:numRef>
              <c:f>Sheet1!$C$2:$C$11</c:f>
              <c:numCache>
                <c:formatCode>General</c:formatCode>
                <c:ptCount val="10"/>
                <c:pt idx="0">
                  <c:v>111360239.0</c:v>
                </c:pt>
                <c:pt idx="1">
                  <c:v>70217825.0</c:v>
                </c:pt>
                <c:pt idx="2">
                  <c:v>24758860.0</c:v>
                </c:pt>
                <c:pt idx="3">
                  <c:v>23364293.0</c:v>
                </c:pt>
                <c:pt idx="4">
                  <c:v>19606463.0</c:v>
                </c:pt>
                <c:pt idx="5">
                  <c:v>15221952.0</c:v>
                </c:pt>
                <c:pt idx="6">
                  <c:v>7314596.0</c:v>
                </c:pt>
                <c:pt idx="7">
                  <c:v>6417642.0</c:v>
                </c:pt>
                <c:pt idx="8">
                  <c:v>3196825.0</c:v>
                </c:pt>
                <c:pt idx="9">
                  <c:v>1794318.0</c:v>
                </c:pt>
              </c:numCache>
            </c:numRef>
          </c:bubbleSize>
          <c:bubble3D val="0"/>
          <c:extLst>
            <c:ext xmlns:c15="http://schemas.microsoft.com/office/drawing/2012/chart" uri="{02D57815-91ED-43cb-92C2-25804820EDAC}">
              <c15:datalabelsRange>
                <c15:f>Sheet1!$D$2:$D$34</c15:f>
                <c15:dlblRangeCache>
                  <c:ptCount val="3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 </c:v>
                  </c:pt>
                  <c:pt idx="22">
                    <c:v>23 </c:v>
                  </c:pt>
                  <c:pt idx="23">
                    <c:v>24 </c:v>
                  </c:pt>
                  <c:pt idx="24">
                    <c:v>25 </c:v>
                  </c:pt>
                  <c:pt idx="25">
                    <c:v>26 </c:v>
                  </c:pt>
                  <c:pt idx="26">
                    <c:v>27 </c:v>
                  </c:pt>
                  <c:pt idx="27">
                    <c:v>28 </c:v>
                  </c:pt>
                  <c:pt idx="28">
                    <c:v>29 </c:v>
                  </c:pt>
                  <c:pt idx="29">
                    <c:v>30 </c:v>
                  </c:pt>
                  <c:pt idx="30">
                    <c:v>31 </c:v>
                  </c:pt>
                  <c:pt idx="31">
                    <c:v>32 </c:v>
                  </c:pt>
                  <c:pt idx="32">
                    <c:v>33 </c:v>
                  </c:pt>
                </c15:dlblRangeCache>
              </c15:datalabelsRange>
            </c:ext>
            <c:ext xmlns:c16="http://schemas.microsoft.com/office/drawing/2014/chart" uri="{C3380CC4-5D6E-409C-BE32-E72D297353CC}">
              <c16:uniqueId val="{00000000-E8D7-5D40-8192-48D91D141F56}"/>
            </c:ext>
          </c:extLst>
        </c:ser>
        <c:dLbls>
          <c:showLegendKey val="0"/>
          <c:showVal val="0"/>
          <c:showCatName val="0"/>
          <c:showSerName val="0"/>
          <c:showPercent val="0"/>
          <c:showBubbleSize val="0"/>
        </c:dLbls>
        <c:bubbleScale val="50"/>
        <c:showNegBubbles val="0"/>
        <c:axId val="1389925551"/>
        <c:axId val="1389927199"/>
      </c:bubbleChart>
      <c:valAx>
        <c:axId val="1389925551"/>
        <c:scaling>
          <c:orientation val="minMax"/>
        </c:scaling>
        <c:delete val="0"/>
        <c:axPos val="b"/>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7199"/>
        <c:crossesAt val="0.0019058948704872192"/>
        <c:crossBetween val="midCat"/>
      </c:valAx>
      <c:valAx>
        <c:axId val="1389927199"/>
        <c:scaling>
          <c:orientation val="minMax"/>
        </c:scaling>
        <c:delete val="0"/>
        <c:axPos val="l"/>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5551"/>
        <c:crossesAt val="0.001098367271231859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374238658678002E-2"/>
          <c:y val="3.5678372632186241E-2"/>
          <c:w val="0.92883189647221065"/>
          <c:h val="0.87708287481703862"/>
        </c:manualLayout>
      </c:layout>
      <c:bubbleChart>
        <c:varyColors val="0"/>
        <c:ser>
          <c:idx val="0"/>
          <c:order val="0"/>
          <c:tx>
            <c:strRef>
              <c:f>Sheet1!$B$1</c:f>
              <c:strCache>
                <c:ptCount val="1"/>
                <c:pt idx="0">
                  <c:v>P3M Value Share</c:v>
                </c:pt>
              </c:strCache>
            </c:strRef>
          </c:tx>
          <c:spPr>
            <a:solidFill>
              <a:schemeClr val="bg1"/>
            </a:solidFill>
            <a:ln w="3175">
              <a:solidFill>
                <a:schemeClr val="tx2"/>
              </a:solidFill>
            </a:ln>
            <a:effectLst/>
          </c:spPr>
          <c:invertIfNegative val="0"/>
          <c:dPt>
            <c:idx val="2"/>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2-C625-D64F-9EE6-A56E35D3C48D}"/>
              </c:ext>
            </c:extLst>
          </c:dPt>
          <c:dPt>
            <c:idx val="3"/>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3-C625-D64F-9EE6-A56E35D3C48D}"/>
              </c:ext>
            </c:extLst>
          </c:dPt>
          <c:dLbls>
            <c:dLbl>
              <c:idx val="0"/>
              <c:tx>
                <c:rich>
                  <a:bodyPr/>
                  <a:lstStyle/>
                  <a:p>
                    <a:fld id="{E33812F8-2E87-4310-82D1-0C73ACEB00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625-D64F-9EE6-A56E35D3C48D}"/>
                </c:ext>
              </c:extLst>
            </c:dLbl>
            <c:dLbl>
              <c:idx val="1"/>
              <c:tx>
                <c:rich>
                  <a:bodyPr/>
                  <a:lstStyle/>
                  <a:p>
                    <a:fld id="{9C021E68-38CA-4EB9-A9B8-C2CDE18588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25-D64F-9EE6-A56E35D3C48D}"/>
                </c:ext>
              </c:extLst>
            </c:dLbl>
            <c:dLbl>
              <c:idx val="2"/>
              <c:tx>
                <c:rich>
                  <a:bodyPr/>
                  <a:lstStyle/>
                  <a:p>
                    <a:fld id="{E3426477-7721-4E9A-9969-55226F3FCC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25-D64F-9EE6-A56E35D3C48D}"/>
                </c:ext>
              </c:extLst>
            </c:dLbl>
            <c:dLbl>
              <c:idx val="3"/>
              <c:tx>
                <c:rich>
                  <a:bodyPr/>
                  <a:lstStyle/>
                  <a:p>
                    <a:fld id="{5D9D40C2-ACF5-43C2-BD31-E87783EDF0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25-D64F-9EE6-A56E35D3C48D}"/>
                </c:ext>
              </c:extLst>
            </c:dLbl>
            <c:dLbl>
              <c:idx val="4"/>
              <c:tx>
                <c:rich>
                  <a:bodyPr/>
                  <a:lstStyle/>
                  <a:p>
                    <a:fld id="{DE6FCF49-BF88-443C-BDBF-DB054ED65A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2B3-43D4-BD21-895ACA67225E}"/>
                </c:ext>
              </c:extLst>
            </c:dLbl>
            <c:dLbl>
              <c:idx val="5"/>
              <c:tx>
                <c:rich>
                  <a:bodyPr/>
                  <a:lstStyle/>
                  <a:p>
                    <a:fld id="{85D794E9-B0FB-4350-A67A-36C05629B8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2B3-43D4-BD21-895ACA67225E}"/>
                </c:ext>
              </c:extLst>
            </c:dLbl>
            <c:dLbl>
              <c:idx val="6"/>
              <c:tx>
                <c:rich>
                  <a:bodyPr/>
                  <a:lstStyle/>
                  <a:p>
                    <a:fld id="{D63104DA-1929-4B3F-9223-2F83D36696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2B3-43D4-BD21-895ACA67225E}"/>
                </c:ext>
              </c:extLst>
            </c:dLbl>
            <c:dLbl>
              <c:idx val="7"/>
              <c:tx>
                <c:rich>
                  <a:bodyPr/>
                  <a:lstStyle/>
                  <a:p>
                    <a:fld id="{CF58D75A-4231-40E0-9480-51E3E7D382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2B3-43D4-BD21-895ACA67225E}"/>
                </c:ext>
              </c:extLst>
            </c:dLbl>
            <c:dLbl>
              <c:idx val="8"/>
              <c:tx>
                <c:rich>
                  <a:bodyPr/>
                  <a:lstStyle/>
                  <a:p>
                    <a:fld id="{97C1161D-2D53-4FEE-9081-D95C053BA5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2B3-43D4-BD21-895ACA67225E}"/>
                </c:ext>
              </c:extLst>
            </c:dLbl>
            <c:dLbl>
              <c:idx val="9"/>
              <c:tx>
                <c:rich>
                  <a:bodyPr/>
                  <a:lstStyle/>
                  <a:p>
                    <a:fld id="{468A639B-0ED4-4FFA-8E00-A3C328B538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2B3-43D4-BD21-895ACA67225E}"/>
                </c:ext>
              </c:extLst>
            </c:dLbl>
            <c:dLbl>
              <c:idx val="10"/>
              <c:tx>
                <c:rich>
                  <a:bodyPr/>
                  <a:lstStyle/>
                  <a:p>
                    <a:fld id="{1BC96BDF-90A4-4958-B6DF-2087211BCE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2B3-43D4-BD21-895ACA67225E}"/>
                </c:ext>
              </c:extLst>
            </c:dLbl>
            <c:dLbl>
              <c:idx val="11"/>
              <c:tx>
                <c:rich>
                  <a:bodyPr/>
                  <a:lstStyle/>
                  <a:p>
                    <a:fld id="{4670AE34-2DED-481E-902E-E49C3B8F1E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2B3-43D4-BD21-895ACA67225E}"/>
                </c:ext>
              </c:extLst>
            </c:dLbl>
            <c:dLbl>
              <c:idx val="12"/>
              <c:tx>
                <c:rich>
                  <a:bodyPr/>
                  <a:lstStyle/>
                  <a:p>
                    <a:fld id="{7A81F4A6-8F60-4BBC-8D99-099AFE4BB0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2B3-43D4-BD21-895ACA67225E}"/>
                </c:ext>
              </c:extLst>
            </c:dLbl>
            <c:dLbl>
              <c:idx val="13"/>
              <c:tx>
                <c:rich>
                  <a:bodyPr/>
                  <a:lstStyle/>
                  <a:p>
                    <a:fld id="{271BD64C-1D81-475A-BEE7-FA58B9ADF7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2B3-43D4-BD21-895ACA67225E}"/>
                </c:ext>
              </c:extLst>
            </c:dLbl>
            <c:dLbl>
              <c:idx val="14"/>
              <c:tx>
                <c:rich>
                  <a:bodyPr/>
                  <a:lstStyle/>
                  <a:p>
                    <a:r>
                      <a:t>15</a:t>
                    </a: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2B3-43D4-BD21-895ACA67225E}"/>
                </c:ext>
              </c:extLst>
            </c:dLbl>
            <c:dLbl>
              <c:idx val="15"/>
              <c:tx>
                <c:rich>
                  <a:bodyPr/>
                  <a:lstStyle/>
                  <a:p>
                    <a:fld id="{1340BC30-A557-4358-9C26-4DDF5F0733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2B3-43D4-BD21-895ACA67225E}"/>
                </c:ext>
              </c:extLst>
            </c:dLbl>
            <c:dLbl>
              <c:idx val="16"/>
              <c:tx>
                <c:rich>
                  <a:bodyPr/>
                  <a:lstStyle/>
                  <a:p>
                    <a:fld id="{5090E92A-405D-44B3-9C95-AF36F9CEBB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2B3-43D4-BD21-895ACA67225E}"/>
                </c:ext>
              </c:extLst>
            </c:dLbl>
            <c:dLbl>
              <c:idx val="17"/>
              <c:tx>
                <c:rich>
                  <a:bodyPr/>
                  <a:lstStyle/>
                  <a:p>
                    <a:fld id="{D6ACB221-494D-4805-99BE-CEE11892E2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2B3-43D4-BD21-895ACA67225E}"/>
                </c:ext>
              </c:extLst>
            </c:dLbl>
            <c:dLbl>
              <c:idx val="18"/>
              <c:tx>
                <c:rich>
                  <a:bodyPr/>
                  <a:lstStyle/>
                  <a:p>
                    <a:fld id="{3A408503-2EFB-4AA9-B3F1-BB18007A1A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2B3-43D4-BD21-895ACA67225E}"/>
                </c:ext>
              </c:extLst>
            </c:dLbl>
            <c:dLbl>
              <c:idx val="19"/>
              <c:tx>
                <c:rich>
                  <a:bodyPr/>
                  <a:lstStyle/>
                  <a:p>
                    <a:fld id="{81DF6F92-C521-485F-8AF2-E4C644182F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2B3-43D4-BD21-895ACA67225E}"/>
                </c:ext>
              </c:extLst>
            </c:dLbl>
            <c:dLbl>
              <c:idx val="20"/>
              <c:tx>
                <c:rich>
                  <a:bodyPr/>
                  <a:lstStyle/>
                  <a:p>
                    <a:fld id="{C356A24A-4A97-4B86-A1BB-0B8C304B72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2B3-43D4-BD21-895ACA67225E}"/>
                </c:ext>
              </c:extLst>
            </c:dLbl>
            <c:dLbl>
              <c:idx val="21"/>
              <c:tx>
                <c:rich>
                  <a:bodyPr/>
                  <a:lstStyle/>
                  <a:p>
                    <a:fld id="{13844A49-FAE1-4303-B867-54E5031270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66A5-42F8-9CB2-D500C2C49522}"/>
                </c:ext>
              </c:extLst>
            </c:dLbl>
            <c:dLbl>
              <c:idx val="22"/>
              <c:tx>
                <c:rich>
                  <a:bodyPr/>
                  <a:lstStyle/>
                  <a:p>
                    <a:fld id="{B6F881BE-7B81-4460-9B46-B713CC545A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6A5-42F8-9CB2-D500C2C49522}"/>
                </c:ext>
              </c:extLst>
            </c:dLbl>
            <c:dLbl>
              <c:idx val="23"/>
              <c:tx>
                <c:rich>
                  <a:bodyPr/>
                  <a:lstStyle/>
                  <a:p>
                    <a:fld id="{7CE5AC91-2305-4B14-A752-9E519AA845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79-43B7-8A1A-3B973BF29255}"/>
                </c:ext>
              </c:extLst>
            </c:dLbl>
            <c:dLbl>
              <c:idx val="24"/>
              <c:tx>
                <c:rich>
                  <a:bodyPr/>
                  <a:lstStyle/>
                  <a:p>
                    <a:fld id="{C7572A41-9C6C-44A3-B270-98B6E572A8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79-43B7-8A1A-3B973BF29255}"/>
                </c:ext>
              </c:extLst>
            </c:dLbl>
            <c:dLbl>
              <c:idx val="25"/>
              <c:tx>
                <c:rich>
                  <a:bodyPr/>
                  <a:lstStyle/>
                  <a:p>
                    <a:fld id="{7F0AA1D8-7BA4-4498-8C00-9F8FBEDE33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79-43B7-8A1A-3B973BF29255}"/>
                </c:ext>
              </c:extLst>
            </c:dLbl>
            <c:dLbl>
              <c:idx val="26"/>
              <c:tx>
                <c:rich>
                  <a:bodyPr/>
                  <a:lstStyle/>
                  <a:p>
                    <a:fld id="{6C6738E6-46C0-4B78-936F-91FDFFA59F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79-43B7-8A1A-3B973BF29255}"/>
                </c:ext>
              </c:extLst>
            </c:dLbl>
            <c:dLbl>
              <c:idx val="27"/>
              <c:tx>
                <c:rich>
                  <a:bodyPr/>
                  <a:lstStyle/>
                  <a:p>
                    <a:fld id="{A5B3EDF1-1D6F-46B6-8422-7AC1C3E434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79-43B7-8A1A-3B973BF29255}"/>
                </c:ext>
              </c:extLst>
            </c:dLbl>
            <c:dLbl>
              <c:idx val="28"/>
              <c:tx>
                <c:rich>
                  <a:bodyPr/>
                  <a:lstStyle/>
                  <a:p>
                    <a:fld id="{F9A14BB1-F70E-480F-B0CD-4E487DAD75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FE79-43B7-8A1A-3B973BF29255}"/>
                </c:ext>
              </c:extLst>
            </c:dLbl>
            <c:dLbl>
              <c:idx val="29"/>
              <c:tx>
                <c:rich>
                  <a:bodyPr/>
                  <a:lstStyle/>
                  <a:p>
                    <a:fld id="{F7BC7E38-A842-4BDF-BA24-A84FD724DA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FE79-43B7-8A1A-3B973BF29255}"/>
                </c:ext>
              </c:extLst>
            </c:dLbl>
            <c:dLbl>
              <c:idx val="30"/>
              <c:tx>
                <c:rich>
                  <a:bodyPr/>
                  <a:lstStyle/>
                  <a:p>
                    <a:fld id="{944FE919-BA53-4E50-A686-794A78A719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FE79-43B7-8A1A-3B973BF29255}"/>
                </c:ext>
              </c:extLst>
            </c:dLbl>
            <c:dLbl>
              <c:idx val="31"/>
              <c:tx>
                <c:rich>
                  <a:bodyPr/>
                  <a:lstStyle/>
                  <a:p>
                    <a:fld id="{53C73AC3-6747-4F31-98AA-FDAF2AC215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FE79-43B7-8A1A-3B973BF29255}"/>
                </c:ext>
              </c:extLst>
            </c:dLbl>
            <c:dLbl>
              <c:idx val="32"/>
              <c:tx>
                <c:rich>
                  <a:bodyPr/>
                  <a:lstStyle/>
                  <a:p>
                    <a:fld id="{30DEADE8-B60D-447C-A338-FF5360C679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FE79-43B7-8A1A-3B973BF29255}"/>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6</c:f>
              <c:numCache>
                <c:formatCode>General</c:formatCode>
                <c:ptCount val="15"/>
                <c:pt idx="0">
                  <c:v>0.011844461033472892</c:v>
                </c:pt>
                <c:pt idx="1">
                  <c:v>0.009695927384920047</c:v>
                </c:pt>
                <c:pt idx="2">
                  <c:v>-0.0023102146231548243</c:v>
                </c:pt>
                <c:pt idx="3">
                  <c:v>0.002590009295350283</c:v>
                </c:pt>
                <c:pt idx="4">
                  <c:v>-0.000723103158809392</c:v>
                </c:pt>
                <c:pt idx="5">
                  <c:v>-0.00018647522348557918</c:v>
                </c:pt>
                <c:pt idx="6">
                  <c:v>0.0011670159763541993</c:v>
                </c:pt>
                <c:pt idx="7">
                  <c:v>-0.003936604819034552</c:v>
                </c:pt>
                <c:pt idx="8">
                  <c:v>0.0006889704095271142</c:v>
                </c:pt>
                <c:pt idx="9">
                  <c:v>7.536962605079155e-05</c:v>
                </c:pt>
                <c:pt idx="10">
                  <c:v>-0.00013839686036518951</c:v>
                </c:pt>
                <c:pt idx="11">
                  <c:v>-0.0002775920161368021</c:v>
                </c:pt>
                <c:pt idx="12">
                  <c:v>-0.0003301930688043796</c:v>
                </c:pt>
                <c:pt idx="13">
                  <c:v>0.00011259152312752827</c:v>
                </c:pt>
                <c:pt idx="14">
                  <c:v>1.0036248533548841e-07</c:v>
                </c:pt>
              </c:numCache>
            </c:numRef>
          </c:xVal>
          <c:yVal>
            <c:numRef>
              <c:f>Sheet1!$B$2:$B$16</c:f>
              <c:numCache>
                <c:formatCode>General</c:formatCode>
                <c:ptCount val="15"/>
                <c:pt idx="0">
                  <c:v>0.019579482518041674</c:v>
                </c:pt>
                <c:pt idx="1">
                  <c:v>0.01712343128297092</c:v>
                </c:pt>
                <c:pt idx="2">
                  <c:v>-0.0048908007046048994</c:v>
                </c:pt>
                <c:pt idx="3">
                  <c:v>0.0009941093042372916</c:v>
                </c:pt>
                <c:pt idx="4">
                  <c:v>0.0003735695683465337</c:v>
                </c:pt>
                <c:pt idx="5">
                  <c:v>-0.0027579933876997545</c:v>
                </c:pt>
                <c:pt idx="6">
                  <c:v>0.00017305871071325932</c:v>
                </c:pt>
                <c:pt idx="7">
                  <c:v>-0.0064273256702692926</c:v>
                </c:pt>
                <c:pt idx="8">
                  <c:v>-0.0028918681905599347</c:v>
                </c:pt>
                <c:pt idx="9">
                  <c:v>0.00010059957179582059</c:v>
                </c:pt>
                <c:pt idx="10">
                  <c:v>-0.0002052076798608046</c:v>
                </c:pt>
                <c:pt idx="11">
                  <c:v>-0.0010327567012649872</c:v>
                </c:pt>
                <c:pt idx="12">
                  <c:v>-0.0009431342566099926</c:v>
                </c:pt>
                <c:pt idx="13">
                  <c:v>-0.000713931208036528</c:v>
                </c:pt>
                <c:pt idx="14">
                  <c:v>1.1152300943159527e-07</c:v>
                </c:pt>
              </c:numCache>
            </c:numRef>
          </c:yVal>
          <c:bubbleSize>
            <c:numRef>
              <c:f>Sheet1!$C$2:$C$16</c:f>
              <c:numCache>
                <c:formatCode>General</c:formatCode>
                <c:ptCount val="15"/>
                <c:pt idx="0">
                  <c:v>111360239.0</c:v>
                </c:pt>
                <c:pt idx="1">
                  <c:v>70217825.0</c:v>
                </c:pt>
                <c:pt idx="2">
                  <c:v>30468308.0</c:v>
                </c:pt>
                <c:pt idx="3">
                  <c:v>22557022.0</c:v>
                </c:pt>
                <c:pt idx="4">
                  <c:v>21233281.0</c:v>
                </c:pt>
                <c:pt idx="5">
                  <c:v>16850297.0</c:v>
                </c:pt>
                <c:pt idx="6">
                  <c:v>16396938.0</c:v>
                </c:pt>
                <c:pt idx="7">
                  <c:v>14481315.0</c:v>
                </c:pt>
                <c:pt idx="8">
                  <c:v>14007524.0</c:v>
                </c:pt>
                <c:pt idx="9">
                  <c:v>12208672.0</c:v>
                </c:pt>
                <c:pt idx="10">
                  <c:v>3196825.0</c:v>
                </c:pt>
                <c:pt idx="11">
                  <c:v>1794318.0</c:v>
                </c:pt>
                <c:pt idx="12">
                  <c:v>1583106.0</c:v>
                </c:pt>
                <c:pt idx="13">
                  <c:v>802773.0</c:v>
                </c:pt>
                <c:pt idx="14">
                  <c:v>80.0</c:v>
                </c:pt>
              </c:numCache>
            </c:numRef>
          </c:bubbleSize>
          <c:bubble3D val="0"/>
          <c:extLst>
            <c:ext xmlns:c15="http://schemas.microsoft.com/office/drawing/2012/chart" uri="{02D57815-91ED-43cb-92C2-25804820EDAC}">
              <c15:datalabelsRange>
                <c15:f>Sheet1!$D$2:$D$34</c15:f>
                <c15:dlblRangeCache>
                  <c:ptCount val="3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 </c:v>
                  </c:pt>
                  <c:pt idx="22">
                    <c:v>23 </c:v>
                  </c:pt>
                  <c:pt idx="23">
                    <c:v>24 </c:v>
                  </c:pt>
                  <c:pt idx="24">
                    <c:v>25 </c:v>
                  </c:pt>
                  <c:pt idx="25">
                    <c:v>26 </c:v>
                  </c:pt>
                  <c:pt idx="26">
                    <c:v>27 </c:v>
                  </c:pt>
                  <c:pt idx="27">
                    <c:v>28 </c:v>
                  </c:pt>
                  <c:pt idx="28">
                    <c:v>29 </c:v>
                  </c:pt>
                  <c:pt idx="29">
                    <c:v>30 </c:v>
                  </c:pt>
                  <c:pt idx="30">
                    <c:v>31 </c:v>
                  </c:pt>
                  <c:pt idx="31">
                    <c:v>32 </c:v>
                  </c:pt>
                  <c:pt idx="32">
                    <c:v>33 </c:v>
                  </c:pt>
                </c15:dlblRangeCache>
              </c15:datalabelsRange>
            </c:ext>
            <c:ext xmlns:c16="http://schemas.microsoft.com/office/drawing/2014/chart" uri="{C3380CC4-5D6E-409C-BE32-E72D297353CC}">
              <c16:uniqueId val="{00000000-E8D7-5D40-8192-48D91D141F56}"/>
            </c:ext>
          </c:extLst>
        </c:ser>
        <c:dLbls>
          <c:showLegendKey val="0"/>
          <c:showVal val="0"/>
          <c:showCatName val="0"/>
          <c:showSerName val="0"/>
          <c:showPercent val="0"/>
          <c:showBubbleSize val="0"/>
        </c:dLbls>
        <c:bubbleScale val="50"/>
        <c:showNegBubbles val="0"/>
        <c:axId val="1389925551"/>
        <c:axId val="1389927199"/>
      </c:bubbleChart>
      <c:valAx>
        <c:axId val="1389925551"/>
        <c:scaling>
          <c:orientation val="minMax"/>
        </c:scaling>
        <c:delete val="0"/>
        <c:axPos val="b"/>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7199"/>
        <c:crossesAt val="0.0012320896453472492"/>
        <c:crossBetween val="midCat"/>
      </c:valAx>
      <c:valAx>
        <c:axId val="1389927199"/>
        <c:scaling>
          <c:orientation val="minMax"/>
        </c:scaling>
        <c:delete val="0"/>
        <c:axPos val="l"/>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5551"/>
        <c:crossesAt val="0.0012181243894331653"/>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374238658678002E-2"/>
          <c:y val="3.5678372632186241E-2"/>
          <c:w val="0.92883189647221065"/>
          <c:h val="0.87708287481703862"/>
        </c:manualLayout>
      </c:layout>
      <c:bubbleChart>
        <c:varyColors val="0"/>
        <c:ser>
          <c:idx val="0"/>
          <c:order val="0"/>
          <c:tx>
            <c:strRef>
              <c:f>Sheet1!$B$1</c:f>
              <c:strCache>
                <c:ptCount val="1"/>
                <c:pt idx="0">
                  <c:v>P3M Value Share</c:v>
                </c:pt>
              </c:strCache>
            </c:strRef>
          </c:tx>
          <c:spPr>
            <a:solidFill>
              <a:schemeClr val="bg1"/>
            </a:solidFill>
            <a:ln w="3175">
              <a:solidFill>
                <a:schemeClr val="tx2"/>
              </a:solidFill>
            </a:ln>
            <a:effectLst/>
          </c:spPr>
          <c:invertIfNegative val="0"/>
          <c:dPt>
            <c:idx val="2"/>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2-C625-D64F-9EE6-A56E35D3C48D}"/>
              </c:ext>
            </c:extLst>
          </c:dPt>
          <c:dPt>
            <c:idx val="3"/>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3-C625-D64F-9EE6-A56E35D3C48D}"/>
              </c:ext>
            </c:extLst>
          </c:dPt>
          <c:dLbls>
            <c:dLbl>
              <c:idx val="0"/>
              <c:tx>
                <c:rich>
                  <a:bodyPr/>
                  <a:lstStyle/>
                  <a:p>
                    <a:fld id="{9727DCFF-5E00-480B-8443-5C90F2CB46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625-D64F-9EE6-A56E35D3C48D}"/>
                </c:ext>
              </c:extLst>
            </c:dLbl>
            <c:dLbl>
              <c:idx val="1"/>
              <c:tx>
                <c:rich>
                  <a:bodyPr/>
                  <a:lstStyle/>
                  <a:p>
                    <a:fld id="{A3B07F3F-4723-4F76-BC0E-8EB3522CA3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25-D64F-9EE6-A56E35D3C48D}"/>
                </c:ext>
              </c:extLst>
            </c:dLbl>
            <c:dLbl>
              <c:idx val="2"/>
              <c:tx>
                <c:rich>
                  <a:bodyPr/>
                  <a:lstStyle/>
                  <a:p>
                    <a:fld id="{491583A9-320F-4D3B-9F9B-EBBBE3EFE4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25-D64F-9EE6-A56E35D3C48D}"/>
                </c:ext>
              </c:extLst>
            </c:dLbl>
            <c:dLbl>
              <c:idx val="3"/>
              <c:tx>
                <c:rich>
                  <a:bodyPr/>
                  <a:lstStyle/>
                  <a:p>
                    <a:fld id="{12CD93E3-6EB0-4567-892E-E730296A1D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25-D64F-9EE6-A56E35D3C48D}"/>
                </c:ext>
              </c:extLst>
            </c:dLbl>
            <c:dLbl>
              <c:idx val="4"/>
              <c:tx>
                <c:rich>
                  <a:bodyPr/>
                  <a:lstStyle/>
                  <a:p>
                    <a:fld id="{E15E2D60-44DF-4E8B-B15E-5775DAD73A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2B3-43D4-BD21-895ACA67225E}"/>
                </c:ext>
              </c:extLst>
            </c:dLbl>
            <c:dLbl>
              <c:idx val="5"/>
              <c:tx>
                <c:rich>
                  <a:bodyPr/>
                  <a:lstStyle/>
                  <a:p>
                    <a:fld id="{13C400ED-1C11-4324-B9A6-13603AF804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2B3-43D4-BD21-895ACA67225E}"/>
                </c:ext>
              </c:extLst>
            </c:dLbl>
            <c:dLbl>
              <c:idx val="6"/>
              <c:tx>
                <c:rich>
                  <a:bodyPr/>
                  <a:lstStyle/>
                  <a:p>
                    <a:fld id="{FE02FAD8-6298-47B9-9E97-78FFC74223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2B3-43D4-BD21-895ACA67225E}"/>
                </c:ext>
              </c:extLst>
            </c:dLbl>
            <c:dLbl>
              <c:idx val="7"/>
              <c:tx>
                <c:rich>
                  <a:bodyPr/>
                  <a:lstStyle/>
                  <a:p>
                    <a:fld id="{DC7005FB-4836-4508-8DB3-3B296ACB7F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2B3-43D4-BD21-895ACA67225E}"/>
                </c:ext>
              </c:extLst>
            </c:dLbl>
            <c:dLbl>
              <c:idx val="8"/>
              <c:tx>
                <c:rich>
                  <a:bodyPr/>
                  <a:lstStyle/>
                  <a:p>
                    <a:fld id="{E6524DF0-58BB-4973-B114-F58829AC5E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2B3-43D4-BD21-895ACA67225E}"/>
                </c:ext>
              </c:extLst>
            </c:dLbl>
            <c:dLbl>
              <c:idx val="9"/>
              <c:tx>
                <c:rich>
                  <a:bodyPr/>
                  <a:lstStyle/>
                  <a:p>
                    <a:fld id="{0A478A97-5303-493A-B1A0-102B605E9A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2B3-43D4-BD21-895ACA67225E}"/>
                </c:ext>
              </c:extLst>
            </c:dLbl>
            <c:dLbl>
              <c:idx val="10"/>
              <c:tx>
                <c:rich>
                  <a:bodyPr/>
                  <a:lstStyle/>
                  <a:p>
                    <a:r>
                      <a:t>11</a:t>
                    </a: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2B3-43D4-BD21-895ACA67225E}"/>
                </c:ext>
              </c:extLst>
            </c:dLbl>
            <c:dLbl>
              <c:idx val="11"/>
              <c:tx>
                <c:rich>
                  <a:bodyPr/>
                  <a:lstStyle/>
                  <a:p>
                    <a:fld id="{A9A11372-E48A-463E-A5D6-7B7B69794C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2B3-43D4-BD21-895ACA67225E}"/>
                </c:ext>
              </c:extLst>
            </c:dLbl>
            <c:dLbl>
              <c:idx val="12"/>
              <c:tx>
                <c:rich>
                  <a:bodyPr/>
                  <a:lstStyle/>
                  <a:p>
                    <a:fld id="{0EDC5A17-5411-4298-A919-F345B75E6C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2B3-43D4-BD21-895ACA67225E}"/>
                </c:ext>
              </c:extLst>
            </c:dLbl>
            <c:dLbl>
              <c:idx val="13"/>
              <c:tx>
                <c:rich>
                  <a:bodyPr/>
                  <a:lstStyle/>
                  <a:p>
                    <a:fld id="{E5B925F6-9BF0-4E5D-8A30-B5B73B4A46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2B3-43D4-BD21-895ACA67225E}"/>
                </c:ext>
              </c:extLst>
            </c:dLbl>
            <c:dLbl>
              <c:idx val="14"/>
              <c:tx>
                <c:rich>
                  <a:bodyPr/>
                  <a:lstStyle/>
                  <a:p>
                    <a:fld id="{4D97B489-76BA-4D18-91EC-6A429DEAA6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2B3-43D4-BD21-895ACA67225E}"/>
                </c:ext>
              </c:extLst>
            </c:dLbl>
            <c:dLbl>
              <c:idx val="15"/>
              <c:tx>
                <c:rich>
                  <a:bodyPr/>
                  <a:lstStyle/>
                  <a:p>
                    <a:fld id="{4C2227D0-2EB1-40D7-B88C-F75AA512AB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2B3-43D4-BD21-895ACA67225E}"/>
                </c:ext>
              </c:extLst>
            </c:dLbl>
            <c:dLbl>
              <c:idx val="16"/>
              <c:tx>
                <c:rich>
                  <a:bodyPr/>
                  <a:lstStyle/>
                  <a:p>
                    <a:fld id="{9E51D7E2-99F8-4C9E-BF11-3DAAEB95EB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2B3-43D4-BD21-895ACA67225E}"/>
                </c:ext>
              </c:extLst>
            </c:dLbl>
            <c:dLbl>
              <c:idx val="17"/>
              <c:tx>
                <c:rich>
                  <a:bodyPr/>
                  <a:lstStyle/>
                  <a:p>
                    <a:fld id="{25DBFFD4-B0BC-4B98-A497-AE20357B3E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2B3-43D4-BD21-895ACA67225E}"/>
                </c:ext>
              </c:extLst>
            </c:dLbl>
            <c:dLbl>
              <c:idx val="18"/>
              <c:tx>
                <c:rich>
                  <a:bodyPr/>
                  <a:lstStyle/>
                  <a:p>
                    <a:fld id="{6BAF19A1-870C-4AE3-BC07-FD9794174E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2B3-43D4-BD21-895ACA67225E}"/>
                </c:ext>
              </c:extLst>
            </c:dLbl>
            <c:dLbl>
              <c:idx val="19"/>
              <c:tx>
                <c:rich>
                  <a:bodyPr/>
                  <a:lstStyle/>
                  <a:p>
                    <a:fld id="{F23F915F-97A6-4E0E-A7D5-C200044723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2B3-43D4-BD21-895ACA67225E}"/>
                </c:ext>
              </c:extLst>
            </c:dLbl>
            <c:dLbl>
              <c:idx val="20"/>
              <c:tx>
                <c:rich>
                  <a:bodyPr/>
                  <a:lstStyle/>
                  <a:p>
                    <a:fld id="{06B58D66-F147-4118-B414-27CC2D6215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2B3-43D4-BD21-895ACA67225E}"/>
                </c:ext>
              </c:extLst>
            </c:dLbl>
            <c:dLbl>
              <c:idx val="21"/>
              <c:tx>
                <c:rich>
                  <a:bodyPr/>
                  <a:lstStyle/>
                  <a:p>
                    <a:fld id="{98011E4D-7820-4816-96BC-274A94D47D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66A5-42F8-9CB2-D500C2C49522}"/>
                </c:ext>
              </c:extLst>
            </c:dLbl>
            <c:dLbl>
              <c:idx val="22"/>
              <c:tx>
                <c:rich>
                  <a:bodyPr/>
                  <a:lstStyle/>
                  <a:p>
                    <a:fld id="{02467287-811B-48A6-A172-2370FCB69B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6A5-42F8-9CB2-D500C2C49522}"/>
                </c:ext>
              </c:extLst>
            </c:dLbl>
            <c:dLbl>
              <c:idx val="23"/>
              <c:tx>
                <c:rich>
                  <a:bodyPr/>
                  <a:lstStyle/>
                  <a:p>
                    <a:fld id="{2C822E2E-B9DE-49B3-9AA7-C81845048E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79-43B7-8A1A-3B973BF29255}"/>
                </c:ext>
              </c:extLst>
            </c:dLbl>
            <c:dLbl>
              <c:idx val="24"/>
              <c:tx>
                <c:rich>
                  <a:bodyPr/>
                  <a:lstStyle/>
                  <a:p>
                    <a:fld id="{8F6A4068-2BAB-44E5-AEBF-44B0CA2002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79-43B7-8A1A-3B973BF29255}"/>
                </c:ext>
              </c:extLst>
            </c:dLbl>
            <c:dLbl>
              <c:idx val="25"/>
              <c:tx>
                <c:rich>
                  <a:bodyPr/>
                  <a:lstStyle/>
                  <a:p>
                    <a:fld id="{48903C67-E1D3-476B-933B-99A205757A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79-43B7-8A1A-3B973BF29255}"/>
                </c:ext>
              </c:extLst>
            </c:dLbl>
            <c:dLbl>
              <c:idx val="26"/>
              <c:tx>
                <c:rich>
                  <a:bodyPr/>
                  <a:lstStyle/>
                  <a:p>
                    <a:fld id="{9E6BA894-9614-41FF-A59E-20B763E110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79-43B7-8A1A-3B973BF29255}"/>
                </c:ext>
              </c:extLst>
            </c:dLbl>
            <c:dLbl>
              <c:idx val="27"/>
              <c:tx>
                <c:rich>
                  <a:bodyPr/>
                  <a:lstStyle/>
                  <a:p>
                    <a:fld id="{7E52A5D5-8726-4134-B7C2-894A3DD098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79-43B7-8A1A-3B973BF29255}"/>
                </c:ext>
              </c:extLst>
            </c:dLbl>
            <c:dLbl>
              <c:idx val="28"/>
              <c:tx>
                <c:rich>
                  <a:bodyPr/>
                  <a:lstStyle/>
                  <a:p>
                    <a:fld id="{E281A96C-BF6B-4C56-9B29-77811FAD2F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FE79-43B7-8A1A-3B973BF29255}"/>
                </c:ext>
              </c:extLst>
            </c:dLbl>
            <c:dLbl>
              <c:idx val="29"/>
              <c:tx>
                <c:rich>
                  <a:bodyPr/>
                  <a:lstStyle/>
                  <a:p>
                    <a:fld id="{288D231E-E363-4607-99FA-C190C875C5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FE79-43B7-8A1A-3B973BF29255}"/>
                </c:ext>
              </c:extLst>
            </c:dLbl>
            <c:dLbl>
              <c:idx val="30"/>
              <c:tx>
                <c:rich>
                  <a:bodyPr/>
                  <a:lstStyle/>
                  <a:p>
                    <a:fld id="{F1D1FB9D-257D-47B5-A508-D1D3207F07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FE79-43B7-8A1A-3B973BF29255}"/>
                </c:ext>
              </c:extLst>
            </c:dLbl>
            <c:dLbl>
              <c:idx val="31"/>
              <c:tx>
                <c:rich>
                  <a:bodyPr/>
                  <a:lstStyle/>
                  <a:p>
                    <a:fld id="{0277202F-1576-46A0-A013-C9614B726C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FE79-43B7-8A1A-3B973BF29255}"/>
                </c:ext>
              </c:extLst>
            </c:dLbl>
            <c:dLbl>
              <c:idx val="32"/>
              <c:tx>
                <c:rich>
                  <a:bodyPr/>
                  <a:lstStyle/>
                  <a:p>
                    <a:fld id="{E10608AD-0836-422F-A06B-D207C12C31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FE79-43B7-8A1A-3B973BF29255}"/>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2</c:f>
              <c:numCache>
                <c:formatCode>General</c:formatCode>
                <c:ptCount val="11"/>
                <c:pt idx="0">
                  <c:v>0.019939570397977335</c:v>
                </c:pt>
                <c:pt idx="1">
                  <c:v>-0.00016281825042417652</c:v>
                </c:pt>
                <c:pt idx="2">
                  <c:v>-0.002144542226411958</c:v>
                </c:pt>
                <c:pt idx="3">
                  <c:v>-0.005670870970262427</c:v>
                </c:pt>
                <c:pt idx="4">
                  <c:v>0.002604151207509793</c:v>
                </c:pt>
                <c:pt idx="5">
                  <c:v>-0.0012911173636385095</c:v>
                </c:pt>
                <c:pt idx="6">
                  <c:v>7.211622341116164e-05</c:v>
                </c:pt>
                <c:pt idx="7">
                  <c:v>-0.0005211588142250562</c:v>
                </c:pt>
                <c:pt idx="8">
                  <c:v>-0.001606579197492821</c:v>
                </c:pt>
                <c:pt idx="9">
                  <c:v>-0.0006025620647285047</c:v>
                </c:pt>
                <c:pt idx="10">
                  <c:v>-1.9163770512940926e-05</c:v>
                </c:pt>
              </c:numCache>
            </c:numRef>
          </c:xVal>
          <c:yVal>
            <c:numRef>
              <c:f>Sheet1!$B$2:$B$12</c:f>
              <c:numCache>
                <c:formatCode>General</c:formatCode>
                <c:ptCount val="11"/>
                <c:pt idx="0">
                  <c:v>0.007154777839008697</c:v>
                </c:pt>
                <c:pt idx="1">
                  <c:v>0.004384735089995637</c:v>
                </c:pt>
                <c:pt idx="2">
                  <c:v>-0.00398164760454197</c:v>
                </c:pt>
                <c:pt idx="3">
                  <c:v>-0.006430337696795296</c:v>
                </c:pt>
                <c:pt idx="4">
                  <c:v>0.0023542177710814474</c:v>
                </c:pt>
                <c:pt idx="5">
                  <c:v>-0.0011137772207581095</c:v>
                </c:pt>
                <c:pt idx="6">
                  <c:v>-0.0003106151607894757</c:v>
                </c:pt>
                <c:pt idx="7">
                  <c:v>-0.0015041911041822932</c:v>
                </c:pt>
                <c:pt idx="8">
                  <c:v>-0.004026884827835024</c:v>
                </c:pt>
                <c:pt idx="9">
                  <c:v>-0.0005837535656971196</c:v>
                </c:pt>
                <c:pt idx="10">
                  <c:v>-2.3634489492536623e-05</c:v>
                </c:pt>
              </c:numCache>
            </c:numRef>
          </c:yVal>
          <c:bubbleSize>
            <c:numRef>
              <c:f>Sheet1!$C$2:$C$12</c:f>
              <c:numCache>
                <c:formatCode>General</c:formatCode>
                <c:ptCount val="11"/>
                <c:pt idx="0">
                  <c:v>1760863092.0</c:v>
                </c:pt>
                <c:pt idx="1">
                  <c:v>387875936.0</c:v>
                </c:pt>
                <c:pt idx="2">
                  <c:v>230947562.0</c:v>
                </c:pt>
                <c:pt idx="3">
                  <c:v>200738299.0</c:v>
                </c:pt>
                <c:pt idx="4">
                  <c:v>188621011.0</c:v>
                </c:pt>
                <c:pt idx="5">
                  <c:v>187705593.0</c:v>
                </c:pt>
                <c:pt idx="6">
                  <c:v>143118988.0</c:v>
                </c:pt>
                <c:pt idx="7">
                  <c:v>115028964.0</c:v>
                </c:pt>
                <c:pt idx="8">
                  <c:v>81763679.0</c:v>
                </c:pt>
                <c:pt idx="9">
                  <c:v>18356742.0</c:v>
                </c:pt>
                <c:pt idx="10">
                  <c:v>257559.0</c:v>
                </c:pt>
              </c:numCache>
            </c:numRef>
          </c:bubbleSize>
          <c:bubble3D val="0"/>
          <c:extLst>
            <c:ext xmlns:c15="http://schemas.microsoft.com/office/drawing/2012/chart" uri="{02D57815-91ED-43cb-92C2-25804820EDAC}">
              <c15:datalabelsRange>
                <c15:f>Sheet1!$D$2:$D$34</c15:f>
                <c15:dlblRangeCache>
                  <c:ptCount val="3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 </c:v>
                  </c:pt>
                  <c:pt idx="22">
                    <c:v>23 </c:v>
                  </c:pt>
                  <c:pt idx="23">
                    <c:v>24 </c:v>
                  </c:pt>
                  <c:pt idx="24">
                    <c:v>25 </c:v>
                  </c:pt>
                  <c:pt idx="25">
                    <c:v>26 </c:v>
                  </c:pt>
                  <c:pt idx="26">
                    <c:v>27 </c:v>
                  </c:pt>
                  <c:pt idx="27">
                    <c:v>28 </c:v>
                  </c:pt>
                  <c:pt idx="28">
                    <c:v>29 </c:v>
                  </c:pt>
                  <c:pt idx="29">
                    <c:v>30 </c:v>
                  </c:pt>
                  <c:pt idx="30">
                    <c:v>31 </c:v>
                  </c:pt>
                  <c:pt idx="31">
                    <c:v>32 </c:v>
                  </c:pt>
                  <c:pt idx="32">
                    <c:v>33 </c:v>
                  </c:pt>
                </c15:dlblRangeCache>
              </c15:datalabelsRange>
            </c:ext>
            <c:ext xmlns:c16="http://schemas.microsoft.com/office/drawing/2014/chart" uri="{C3380CC4-5D6E-409C-BE32-E72D297353CC}">
              <c16:uniqueId val="{00000000-E8D7-5D40-8192-48D91D141F56}"/>
            </c:ext>
          </c:extLst>
        </c:ser>
        <c:dLbls>
          <c:showLegendKey val="0"/>
          <c:showVal val="0"/>
          <c:showCatName val="0"/>
          <c:showSerName val="0"/>
          <c:showPercent val="0"/>
          <c:showBubbleSize val="0"/>
        </c:dLbls>
        <c:bubbleScale val="50"/>
        <c:showNegBubbles val="0"/>
        <c:axId val="1389925551"/>
        <c:axId val="1389927199"/>
      </c:bubbleChart>
      <c:valAx>
        <c:axId val="1389925551"/>
        <c:scaling>
          <c:orientation val="minMax"/>
        </c:scaling>
        <c:delete val="0"/>
        <c:axPos val="b"/>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7199"/>
        <c:crossesAt val="-0.0003710100881823676"/>
        <c:crossBetween val="midCat"/>
      </c:valAx>
      <c:valAx>
        <c:axId val="1389927199"/>
        <c:scaling>
          <c:orientation val="minMax"/>
        </c:scaling>
        <c:delete val="0"/>
        <c:axPos val="l"/>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5551"/>
        <c:crossesAt val="0.0009633659246547178"/>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374238658678002E-2"/>
          <c:y val="3.5678372632186241E-2"/>
          <c:w val="0.92883189647221065"/>
          <c:h val="0.87708287481703862"/>
        </c:manualLayout>
      </c:layout>
      <c:bubbleChart>
        <c:varyColors val="0"/>
        <c:ser>
          <c:idx val="0"/>
          <c:order val="0"/>
          <c:tx>
            <c:strRef>
              <c:f>Sheet1!$B$1</c:f>
              <c:strCache>
                <c:ptCount val="1"/>
                <c:pt idx="0">
                  <c:v>P3M Value Share</c:v>
                </c:pt>
              </c:strCache>
            </c:strRef>
          </c:tx>
          <c:spPr>
            <a:solidFill>
              <a:schemeClr val="bg1"/>
            </a:solidFill>
            <a:ln w="3175">
              <a:solidFill>
                <a:schemeClr val="tx2"/>
              </a:solidFill>
            </a:ln>
            <a:effectLst/>
          </c:spPr>
          <c:invertIfNegative val="0"/>
          <c:dPt>
            <c:idx val="2"/>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2-C625-D64F-9EE6-A56E35D3C48D}"/>
              </c:ext>
            </c:extLst>
          </c:dPt>
          <c:dPt>
            <c:idx val="3"/>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3-C625-D64F-9EE6-A56E35D3C48D}"/>
              </c:ext>
            </c:extLst>
          </c:dPt>
          <c:dLbls>
            <c:dLbl>
              <c:idx val="0"/>
              <c:tx>
                <c:rich>
                  <a:bodyPr/>
                  <a:lstStyle/>
                  <a:p>
                    <a:fld id="{ABFA9077-EDDA-4BCE-B4B6-B15A0061E3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625-D64F-9EE6-A56E35D3C48D}"/>
                </c:ext>
              </c:extLst>
            </c:dLbl>
            <c:dLbl>
              <c:idx val="1"/>
              <c:tx>
                <c:rich>
                  <a:bodyPr/>
                  <a:lstStyle/>
                  <a:p>
                    <a:fld id="{0C9A9B39-11F4-4018-B6EA-A603E2E72C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25-D64F-9EE6-A56E35D3C48D}"/>
                </c:ext>
              </c:extLst>
            </c:dLbl>
            <c:dLbl>
              <c:idx val="2"/>
              <c:tx>
                <c:rich>
                  <a:bodyPr/>
                  <a:lstStyle/>
                  <a:p>
                    <a:fld id="{19836E42-D574-4813-9A2B-EE8C00C15B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25-D64F-9EE6-A56E35D3C48D}"/>
                </c:ext>
              </c:extLst>
            </c:dLbl>
            <c:dLbl>
              <c:idx val="3"/>
              <c:tx>
                <c:rich>
                  <a:bodyPr/>
                  <a:lstStyle/>
                  <a:p>
                    <a:fld id="{99A5595B-9533-483C-A0C2-03CF8A22CD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25-D64F-9EE6-A56E35D3C48D}"/>
                </c:ext>
              </c:extLst>
            </c:dLbl>
            <c:dLbl>
              <c:idx val="4"/>
              <c:tx>
                <c:rich>
                  <a:bodyPr/>
                  <a:lstStyle/>
                  <a:p>
                    <a:fld id="{99C47504-90BC-43D4-9F05-747D6082C7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2B3-43D4-BD21-895ACA67225E}"/>
                </c:ext>
              </c:extLst>
            </c:dLbl>
            <c:dLbl>
              <c:idx val="5"/>
              <c:tx>
                <c:rich>
                  <a:bodyPr/>
                  <a:lstStyle/>
                  <a:p>
                    <a:fld id="{4EBB5AD5-F522-4D4E-BC3C-A85EBF3412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2B3-43D4-BD21-895ACA67225E}"/>
                </c:ext>
              </c:extLst>
            </c:dLbl>
            <c:dLbl>
              <c:idx val="6"/>
              <c:tx>
                <c:rich>
                  <a:bodyPr/>
                  <a:lstStyle/>
                  <a:p>
                    <a:fld id="{F3E93FC3-6217-4CE2-A5B9-100343F1D7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2B3-43D4-BD21-895ACA67225E}"/>
                </c:ext>
              </c:extLst>
            </c:dLbl>
            <c:dLbl>
              <c:idx val="7"/>
              <c:tx>
                <c:rich>
                  <a:bodyPr/>
                  <a:lstStyle/>
                  <a:p>
                    <a:fld id="{F996BA63-854D-47AB-B47D-D29BD26E52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2B3-43D4-BD21-895ACA67225E}"/>
                </c:ext>
              </c:extLst>
            </c:dLbl>
            <c:dLbl>
              <c:idx val="8"/>
              <c:tx>
                <c:rich>
                  <a:bodyPr/>
                  <a:lstStyle/>
                  <a:p>
                    <a:fld id="{44FBAB79-8592-41B0-828E-6C789604E6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2B3-43D4-BD21-895ACA67225E}"/>
                </c:ext>
              </c:extLst>
            </c:dLbl>
            <c:dLbl>
              <c:idx val="9"/>
              <c:tx>
                <c:rich>
                  <a:bodyPr/>
                  <a:lstStyle/>
                  <a:p>
                    <a:fld id="{76913D1F-5498-4565-ADDC-2D90A12D73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2B3-43D4-BD21-895ACA67225E}"/>
                </c:ext>
              </c:extLst>
            </c:dLbl>
            <c:dLbl>
              <c:idx val="10"/>
              <c:tx>
                <c:rich>
                  <a:bodyPr/>
                  <a:lstStyle/>
                  <a:p>
                    <a:r>
                      <a:t>11</a:t>
                    </a: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2B3-43D4-BD21-895ACA67225E}"/>
                </c:ext>
              </c:extLst>
            </c:dLbl>
            <c:dLbl>
              <c:idx val="11"/>
              <c:tx>
                <c:rich>
                  <a:bodyPr/>
                  <a:lstStyle/>
                  <a:p>
                    <a:fld id="{9A65F182-69DA-4475-8201-A00666B0EB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2B3-43D4-BD21-895ACA67225E}"/>
                </c:ext>
              </c:extLst>
            </c:dLbl>
            <c:dLbl>
              <c:idx val="12"/>
              <c:tx>
                <c:rich>
                  <a:bodyPr/>
                  <a:lstStyle/>
                  <a:p>
                    <a:fld id="{9C617BF6-B958-41A5-8D07-3D10EDD4F1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2B3-43D4-BD21-895ACA67225E}"/>
                </c:ext>
              </c:extLst>
            </c:dLbl>
            <c:dLbl>
              <c:idx val="13"/>
              <c:tx>
                <c:rich>
                  <a:bodyPr/>
                  <a:lstStyle/>
                  <a:p>
                    <a:fld id="{A7ED5263-0466-4559-9362-123BBEB96C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2B3-43D4-BD21-895ACA67225E}"/>
                </c:ext>
              </c:extLst>
            </c:dLbl>
            <c:dLbl>
              <c:idx val="14"/>
              <c:tx>
                <c:rich>
                  <a:bodyPr/>
                  <a:lstStyle/>
                  <a:p>
                    <a:fld id="{00DB8719-878A-4E9F-A11C-3D4E855CC2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2B3-43D4-BD21-895ACA67225E}"/>
                </c:ext>
              </c:extLst>
            </c:dLbl>
            <c:dLbl>
              <c:idx val="15"/>
              <c:tx>
                <c:rich>
                  <a:bodyPr/>
                  <a:lstStyle/>
                  <a:p>
                    <a:fld id="{76852286-49DD-41B7-8528-DCE7DBF92D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2B3-43D4-BD21-895ACA67225E}"/>
                </c:ext>
              </c:extLst>
            </c:dLbl>
            <c:dLbl>
              <c:idx val="16"/>
              <c:tx>
                <c:rich>
                  <a:bodyPr/>
                  <a:lstStyle/>
                  <a:p>
                    <a:fld id="{56ACDD5A-1F4A-4DC4-A067-11D231B971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2B3-43D4-BD21-895ACA67225E}"/>
                </c:ext>
              </c:extLst>
            </c:dLbl>
            <c:dLbl>
              <c:idx val="17"/>
              <c:tx>
                <c:rich>
                  <a:bodyPr/>
                  <a:lstStyle/>
                  <a:p>
                    <a:fld id="{B4128114-1DF6-48BC-AD62-5A78E5416D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2B3-43D4-BD21-895ACA67225E}"/>
                </c:ext>
              </c:extLst>
            </c:dLbl>
            <c:dLbl>
              <c:idx val="18"/>
              <c:tx>
                <c:rich>
                  <a:bodyPr/>
                  <a:lstStyle/>
                  <a:p>
                    <a:fld id="{8BB93228-7F8E-45DA-99EF-6B2B3B8D8F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2B3-43D4-BD21-895ACA67225E}"/>
                </c:ext>
              </c:extLst>
            </c:dLbl>
            <c:dLbl>
              <c:idx val="19"/>
              <c:tx>
                <c:rich>
                  <a:bodyPr/>
                  <a:lstStyle/>
                  <a:p>
                    <a:fld id="{AC183526-B647-4122-9606-00C9150C8E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2B3-43D4-BD21-895ACA67225E}"/>
                </c:ext>
              </c:extLst>
            </c:dLbl>
            <c:dLbl>
              <c:idx val="20"/>
              <c:tx>
                <c:rich>
                  <a:bodyPr/>
                  <a:lstStyle/>
                  <a:p>
                    <a:fld id="{BDE4017D-DB8D-43C0-B3CA-1E0EC99F9B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2B3-43D4-BD21-895ACA67225E}"/>
                </c:ext>
              </c:extLst>
            </c:dLbl>
            <c:dLbl>
              <c:idx val="21"/>
              <c:tx>
                <c:rich>
                  <a:bodyPr/>
                  <a:lstStyle/>
                  <a:p>
                    <a:fld id="{C861183F-203A-40CC-AC60-72DCF45B7F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66A5-42F8-9CB2-D500C2C49522}"/>
                </c:ext>
              </c:extLst>
            </c:dLbl>
            <c:dLbl>
              <c:idx val="22"/>
              <c:tx>
                <c:rich>
                  <a:bodyPr/>
                  <a:lstStyle/>
                  <a:p>
                    <a:fld id="{EE79FE5E-C60F-4BC9-BA67-B02B4FCB82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6A5-42F8-9CB2-D500C2C49522}"/>
                </c:ext>
              </c:extLst>
            </c:dLbl>
            <c:dLbl>
              <c:idx val="23"/>
              <c:tx>
                <c:rich>
                  <a:bodyPr/>
                  <a:lstStyle/>
                  <a:p>
                    <a:fld id="{52116759-AE84-4881-9D40-13257778D6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79-43B7-8A1A-3B973BF29255}"/>
                </c:ext>
              </c:extLst>
            </c:dLbl>
            <c:dLbl>
              <c:idx val="24"/>
              <c:tx>
                <c:rich>
                  <a:bodyPr/>
                  <a:lstStyle/>
                  <a:p>
                    <a:fld id="{20688BC5-B104-4152-8B75-1544B60A8E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79-43B7-8A1A-3B973BF29255}"/>
                </c:ext>
              </c:extLst>
            </c:dLbl>
            <c:dLbl>
              <c:idx val="25"/>
              <c:tx>
                <c:rich>
                  <a:bodyPr/>
                  <a:lstStyle/>
                  <a:p>
                    <a:fld id="{515ABF6F-A41F-4E3F-8CE1-F27D9653CE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79-43B7-8A1A-3B973BF29255}"/>
                </c:ext>
              </c:extLst>
            </c:dLbl>
            <c:dLbl>
              <c:idx val="26"/>
              <c:tx>
                <c:rich>
                  <a:bodyPr/>
                  <a:lstStyle/>
                  <a:p>
                    <a:fld id="{B9670472-A410-45C2-A223-13BBE673F2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79-43B7-8A1A-3B973BF29255}"/>
                </c:ext>
              </c:extLst>
            </c:dLbl>
            <c:dLbl>
              <c:idx val="27"/>
              <c:tx>
                <c:rich>
                  <a:bodyPr/>
                  <a:lstStyle/>
                  <a:p>
                    <a:fld id="{BE96B09A-E603-4656-96AE-3C24DED6C0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79-43B7-8A1A-3B973BF29255}"/>
                </c:ext>
              </c:extLst>
            </c:dLbl>
            <c:dLbl>
              <c:idx val="28"/>
              <c:tx>
                <c:rich>
                  <a:bodyPr/>
                  <a:lstStyle/>
                  <a:p>
                    <a:fld id="{9A1D5C74-EB71-49E4-BCE1-9D881193D1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FE79-43B7-8A1A-3B973BF29255}"/>
                </c:ext>
              </c:extLst>
            </c:dLbl>
            <c:dLbl>
              <c:idx val="29"/>
              <c:tx>
                <c:rich>
                  <a:bodyPr/>
                  <a:lstStyle/>
                  <a:p>
                    <a:fld id="{396EA576-B11D-493C-8F33-43BB712E7D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FE79-43B7-8A1A-3B973BF29255}"/>
                </c:ext>
              </c:extLst>
            </c:dLbl>
            <c:dLbl>
              <c:idx val="30"/>
              <c:tx>
                <c:rich>
                  <a:bodyPr/>
                  <a:lstStyle/>
                  <a:p>
                    <a:fld id="{63F3CCD8-636B-4666-B9F3-12B4272098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FE79-43B7-8A1A-3B973BF29255}"/>
                </c:ext>
              </c:extLst>
            </c:dLbl>
            <c:dLbl>
              <c:idx val="31"/>
              <c:tx>
                <c:rich>
                  <a:bodyPr/>
                  <a:lstStyle/>
                  <a:p>
                    <a:fld id="{ABF2DB80-2755-454F-A4D9-8BC014688D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FE79-43B7-8A1A-3B973BF29255}"/>
                </c:ext>
              </c:extLst>
            </c:dLbl>
            <c:dLbl>
              <c:idx val="32"/>
              <c:tx>
                <c:rich>
                  <a:bodyPr/>
                  <a:lstStyle/>
                  <a:p>
                    <a:fld id="{63E9DD98-3052-4C77-86F2-9E17407602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FE79-43B7-8A1A-3B973BF29255}"/>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2</c:f>
              <c:numCache>
                <c:formatCode>General</c:formatCode>
                <c:ptCount val="11"/>
                <c:pt idx="0">
                  <c:v>0.009543258750299766</c:v>
                </c:pt>
                <c:pt idx="1">
                  <c:v>0.0018005588383968596</c:v>
                </c:pt>
                <c:pt idx="2">
                  <c:v>-0.003646373396262448</c:v>
                </c:pt>
                <c:pt idx="3">
                  <c:v>-0.0030294543814810143</c:v>
                </c:pt>
                <c:pt idx="4">
                  <c:v>-0.0009453409388434295</c:v>
                </c:pt>
                <c:pt idx="5">
                  <c:v>0.002470406430932666</c:v>
                </c:pt>
                <c:pt idx="6">
                  <c:v>-0.002310114260669495</c:v>
                </c:pt>
                <c:pt idx="7">
                  <c:v>-0.0010532962276137703</c:v>
                </c:pt>
                <c:pt idx="8">
                  <c:v>-6.302723431439797e-05</c:v>
                </c:pt>
                <c:pt idx="9">
                  <c:v>0.0001688279662768995</c:v>
                </c:pt>
                <c:pt idx="10">
                  <c:v>-2.3923534159421415e-06</c:v>
                </c:pt>
              </c:numCache>
            </c:numRef>
          </c:xVal>
          <c:yVal>
            <c:numRef>
              <c:f>Sheet1!$B$2:$B$12</c:f>
              <c:numCache>
                <c:formatCode>General</c:formatCode>
                <c:ptCount val="11"/>
                <c:pt idx="0">
                  <c:v>0.003775324203876995</c:v>
                </c:pt>
                <c:pt idx="1">
                  <c:v>0.006508002764924692</c:v>
                </c:pt>
                <c:pt idx="2">
                  <c:v>-0.005385926165081503</c:v>
                </c:pt>
                <c:pt idx="3">
                  <c:v>-0.004072234127118837</c:v>
                </c:pt>
                <c:pt idx="4">
                  <c:v>-0.00038620665758017786</c:v>
                </c:pt>
                <c:pt idx="5">
                  <c:v>0.0022923308704537737</c:v>
                </c:pt>
                <c:pt idx="6">
                  <c:v>-0.004890689181595468</c:v>
                </c:pt>
                <c:pt idx="7">
                  <c:v>-0.0005695646882634582</c:v>
                </c:pt>
                <c:pt idx="8">
                  <c:v>-0.0001046081080649866</c:v>
                </c:pt>
                <c:pt idx="9">
                  <c:v>0.00022604203576527277</c:v>
                </c:pt>
                <c:pt idx="10">
                  <c:v>4.5012338201769604e-05</c:v>
                </c:pt>
              </c:numCache>
            </c:numRef>
          </c:yVal>
          <c:bubbleSize>
            <c:numRef>
              <c:f>Sheet1!$C$2:$C$12</c:f>
              <c:numCache>
                <c:formatCode>General</c:formatCode>
                <c:ptCount val="11"/>
                <c:pt idx="0">
                  <c:v>263392264.0</c:v>
                </c:pt>
                <c:pt idx="1">
                  <c:v>78035423.0</c:v>
                </c:pt>
                <c:pt idx="2">
                  <c:v>39509333.0</c:v>
                </c:pt>
                <c:pt idx="3">
                  <c:v>34407631.0</c:v>
                </c:pt>
                <c:pt idx="4">
                  <c:v>32529804.0</c:v>
                </c:pt>
                <c:pt idx="5">
                  <c:v>30956719.0</c:v>
                </c:pt>
                <c:pt idx="6">
                  <c:v>30468388.0</c:v>
                </c:pt>
                <c:pt idx="7">
                  <c:v>22816387.0</c:v>
                </c:pt>
                <c:pt idx="8">
                  <c:v>15405497.0</c:v>
                </c:pt>
                <c:pt idx="9">
                  <c:v>3679581.0</c:v>
                </c:pt>
                <c:pt idx="10">
                  <c:v>114877.0</c:v>
                </c:pt>
              </c:numCache>
            </c:numRef>
          </c:bubbleSize>
          <c:bubble3D val="0"/>
          <c:extLst>
            <c:ext xmlns:c15="http://schemas.microsoft.com/office/drawing/2012/chart" uri="{02D57815-91ED-43cb-92C2-25804820EDAC}">
              <c15:datalabelsRange>
                <c15:f>Sheet1!$D$2:$D$34</c15:f>
                <c15:dlblRangeCache>
                  <c:ptCount val="3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 </c:v>
                  </c:pt>
                  <c:pt idx="22">
                    <c:v>23 </c:v>
                  </c:pt>
                  <c:pt idx="23">
                    <c:v>24 </c:v>
                  </c:pt>
                  <c:pt idx="24">
                    <c:v>25 </c:v>
                  </c:pt>
                  <c:pt idx="25">
                    <c:v>26 </c:v>
                  </c:pt>
                  <c:pt idx="26">
                    <c:v>27 </c:v>
                  </c:pt>
                  <c:pt idx="27">
                    <c:v>28 </c:v>
                  </c:pt>
                  <c:pt idx="28">
                    <c:v>29 </c:v>
                  </c:pt>
                  <c:pt idx="29">
                    <c:v>30 </c:v>
                  </c:pt>
                  <c:pt idx="30">
                    <c:v>31 </c:v>
                  </c:pt>
                  <c:pt idx="31">
                    <c:v>32 </c:v>
                  </c:pt>
                  <c:pt idx="32">
                    <c:v>33 </c:v>
                  </c:pt>
                </c15:dlblRangeCache>
              </c15:datalabelsRange>
            </c:ext>
            <c:ext xmlns:c16="http://schemas.microsoft.com/office/drawing/2014/chart" uri="{C3380CC4-5D6E-409C-BE32-E72D297353CC}">
              <c16:uniqueId val="{00000000-E8D7-5D40-8192-48D91D141F56}"/>
            </c:ext>
          </c:extLst>
        </c:ser>
        <c:dLbls>
          <c:showLegendKey val="0"/>
          <c:showVal val="0"/>
          <c:showCatName val="0"/>
          <c:showSerName val="0"/>
          <c:showPercent val="0"/>
          <c:showBubbleSize val="0"/>
        </c:dLbls>
        <c:bubbleScale val="50"/>
        <c:showNegBubbles val="0"/>
        <c:axId val="1389925551"/>
        <c:axId val="1389927199"/>
      </c:bubbleChart>
      <c:valAx>
        <c:axId val="1389925551"/>
        <c:scaling>
          <c:orientation val="minMax"/>
        </c:scaling>
        <c:delete val="0"/>
        <c:axPos val="b"/>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7199"/>
        <c:crossesAt val="-0.00023295606495290255"/>
        <c:crossBetween val="midCat"/>
      </c:valAx>
      <c:valAx>
        <c:axId val="1389927199"/>
        <c:scaling>
          <c:orientation val="minMax"/>
        </c:scaling>
        <c:delete val="0"/>
        <c:axPos val="l"/>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5551"/>
        <c:crossesAt val="0.000266641199391426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3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6937706821491997</c:v>
                </c:pt>
                <c:pt idx="1">
                  <c:v>0.22447017612998366</c:v>
                </c:pt>
                <c:pt idx="2">
                  <c:v>0.07348363680211986</c:v>
                </c:pt>
                <c:pt idx="3">
                  <c:v>0.00827550491869683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374238658678002E-2"/>
          <c:y val="3.5678372632186241E-2"/>
          <c:w val="0.92883189647221065"/>
          <c:h val="0.87708287481703862"/>
        </c:manualLayout>
      </c:layout>
      <c:bubbleChart>
        <c:varyColors val="0"/>
        <c:ser>
          <c:idx val="0"/>
          <c:order val="0"/>
          <c:tx>
            <c:strRef>
              <c:f>Sheet1!$B$1</c:f>
              <c:strCache>
                <c:ptCount val="1"/>
                <c:pt idx="0">
                  <c:v>P3M Value Share</c:v>
                </c:pt>
              </c:strCache>
            </c:strRef>
          </c:tx>
          <c:spPr>
            <a:solidFill>
              <a:schemeClr val="bg1"/>
            </a:solidFill>
            <a:ln w="3175">
              <a:solidFill>
                <a:schemeClr val="tx2"/>
              </a:solidFill>
            </a:ln>
            <a:effectLst/>
          </c:spPr>
          <c:invertIfNegative val="0"/>
          <c:dPt>
            <c:idx val="2"/>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2-C625-D64F-9EE6-A56E35D3C48D}"/>
              </c:ext>
            </c:extLst>
          </c:dPt>
          <c:dPt>
            <c:idx val="3"/>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3-C625-D64F-9EE6-A56E35D3C48D}"/>
              </c:ext>
            </c:extLst>
          </c:dPt>
          <c:dLbls>
            <c:dLbl>
              <c:idx val="0"/>
              <c:tx>
                <c:rich>
                  <a:bodyPr/>
                  <a:lstStyle/>
                  <a:p>
                    <a:fld id="{648600E8-DC08-46D7-9D51-4845941AD6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625-D64F-9EE6-A56E35D3C48D}"/>
                </c:ext>
              </c:extLst>
            </c:dLbl>
            <c:dLbl>
              <c:idx val="1"/>
              <c:tx>
                <c:rich>
                  <a:bodyPr/>
                  <a:lstStyle/>
                  <a:p>
                    <a:fld id="{7738B51A-EE4F-4183-8A1D-3801F3EE21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25-D64F-9EE6-A56E35D3C48D}"/>
                </c:ext>
              </c:extLst>
            </c:dLbl>
            <c:dLbl>
              <c:idx val="2"/>
              <c:tx>
                <c:rich>
                  <a:bodyPr/>
                  <a:lstStyle/>
                  <a:p>
                    <a:fld id="{4BC7F1B5-B750-4DD1-8862-E28BB0E680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25-D64F-9EE6-A56E35D3C48D}"/>
                </c:ext>
              </c:extLst>
            </c:dLbl>
            <c:dLbl>
              <c:idx val="3"/>
              <c:tx>
                <c:rich>
                  <a:bodyPr/>
                  <a:lstStyle/>
                  <a:p>
                    <a:fld id="{8671B08A-93B7-49BB-A53E-63A1DA79DA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25-D64F-9EE6-A56E35D3C48D}"/>
                </c:ext>
              </c:extLst>
            </c:dLbl>
            <c:dLbl>
              <c:idx val="4"/>
              <c:tx>
                <c:rich>
                  <a:bodyPr/>
                  <a:lstStyle/>
                  <a:p>
                    <a:fld id="{342200ED-4F9A-4EAC-95B5-DCF621CF86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2B3-43D4-BD21-895ACA67225E}"/>
                </c:ext>
              </c:extLst>
            </c:dLbl>
            <c:dLbl>
              <c:idx val="5"/>
              <c:tx>
                <c:rich>
                  <a:bodyPr/>
                  <a:lstStyle/>
                  <a:p>
                    <a:fld id="{5AE128BB-663C-47ED-9EC3-7D66B77F19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2B3-43D4-BD21-895ACA67225E}"/>
                </c:ext>
              </c:extLst>
            </c:dLbl>
            <c:dLbl>
              <c:idx val="6"/>
              <c:tx>
                <c:rich>
                  <a:bodyPr/>
                  <a:lstStyle/>
                  <a:p>
                    <a:fld id="{9316C749-50C0-45AD-B8FF-8798454F5C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2B3-43D4-BD21-895ACA67225E}"/>
                </c:ext>
              </c:extLst>
            </c:dLbl>
            <c:dLbl>
              <c:idx val="7"/>
              <c:tx>
                <c:rich>
                  <a:bodyPr/>
                  <a:lstStyle/>
                  <a:p>
                    <a:fld id="{9004A07D-24E9-4D7D-BFC7-C8FD87C086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2B3-43D4-BD21-895ACA67225E}"/>
                </c:ext>
              </c:extLst>
            </c:dLbl>
            <c:dLbl>
              <c:idx val="8"/>
              <c:tx>
                <c:rich>
                  <a:bodyPr/>
                  <a:lstStyle/>
                  <a:p>
                    <a:fld id="{B6778C5F-667E-4E8F-A31A-73EE88D78A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2B3-43D4-BD21-895ACA67225E}"/>
                </c:ext>
              </c:extLst>
            </c:dLbl>
            <c:dLbl>
              <c:idx val="9"/>
              <c:tx>
                <c:rich>
                  <a:bodyPr/>
                  <a:lstStyle/>
                  <a:p>
                    <a:r>
                      <a:t>10</a:t>
                    </a: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2B3-43D4-BD21-895ACA67225E}"/>
                </c:ext>
              </c:extLst>
            </c:dLbl>
            <c:dLbl>
              <c:idx val="10"/>
              <c:tx>
                <c:rich>
                  <a:bodyPr/>
                  <a:lstStyle/>
                  <a:p>
                    <a:fld id="{9D34DDFC-CF29-499F-A4B7-5212CA5DEC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2B3-43D4-BD21-895ACA67225E}"/>
                </c:ext>
              </c:extLst>
            </c:dLbl>
            <c:dLbl>
              <c:idx val="11"/>
              <c:tx>
                <c:rich>
                  <a:bodyPr/>
                  <a:lstStyle/>
                  <a:p>
                    <a:fld id="{9F377BF3-F06B-4BA8-A03E-D08B961453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2B3-43D4-BD21-895ACA67225E}"/>
                </c:ext>
              </c:extLst>
            </c:dLbl>
            <c:dLbl>
              <c:idx val="12"/>
              <c:tx>
                <c:rich>
                  <a:bodyPr/>
                  <a:lstStyle/>
                  <a:p>
                    <a:fld id="{404EBA6C-DFA9-4A75-846C-F40A024FD7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2B3-43D4-BD21-895ACA67225E}"/>
                </c:ext>
              </c:extLst>
            </c:dLbl>
            <c:dLbl>
              <c:idx val="13"/>
              <c:tx>
                <c:rich>
                  <a:bodyPr/>
                  <a:lstStyle/>
                  <a:p>
                    <a:fld id="{5A27B9C1-011A-41CF-8CC2-064D4179DD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2B3-43D4-BD21-895ACA67225E}"/>
                </c:ext>
              </c:extLst>
            </c:dLbl>
            <c:dLbl>
              <c:idx val="14"/>
              <c:tx>
                <c:rich>
                  <a:bodyPr/>
                  <a:lstStyle/>
                  <a:p>
                    <a:fld id="{78424BED-3F5E-45E7-9788-4C4B6A4B18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2B3-43D4-BD21-895ACA67225E}"/>
                </c:ext>
              </c:extLst>
            </c:dLbl>
            <c:dLbl>
              <c:idx val="15"/>
              <c:tx>
                <c:rich>
                  <a:bodyPr/>
                  <a:lstStyle/>
                  <a:p>
                    <a:fld id="{2AEDF605-C0F6-4F18-AA32-C8CAF88DC8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2B3-43D4-BD21-895ACA67225E}"/>
                </c:ext>
              </c:extLst>
            </c:dLbl>
            <c:dLbl>
              <c:idx val="16"/>
              <c:tx>
                <c:rich>
                  <a:bodyPr/>
                  <a:lstStyle/>
                  <a:p>
                    <a:fld id="{8257CB4F-0C4E-4D30-B15F-A3F3DEF999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2B3-43D4-BD21-895ACA67225E}"/>
                </c:ext>
              </c:extLst>
            </c:dLbl>
            <c:dLbl>
              <c:idx val="17"/>
              <c:tx>
                <c:rich>
                  <a:bodyPr/>
                  <a:lstStyle/>
                  <a:p>
                    <a:fld id="{F5958C6D-EA9E-4923-8FB8-0E0E542C25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2B3-43D4-BD21-895ACA67225E}"/>
                </c:ext>
              </c:extLst>
            </c:dLbl>
            <c:dLbl>
              <c:idx val="18"/>
              <c:tx>
                <c:rich>
                  <a:bodyPr/>
                  <a:lstStyle/>
                  <a:p>
                    <a:fld id="{84E81D62-F4D8-483C-BA4B-E906CDE41F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2B3-43D4-BD21-895ACA67225E}"/>
                </c:ext>
              </c:extLst>
            </c:dLbl>
            <c:dLbl>
              <c:idx val="19"/>
              <c:tx>
                <c:rich>
                  <a:bodyPr/>
                  <a:lstStyle/>
                  <a:p>
                    <a:fld id="{55D45E33-61B4-4BC2-BEE3-EC84E14077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2B3-43D4-BD21-895ACA67225E}"/>
                </c:ext>
              </c:extLst>
            </c:dLbl>
            <c:dLbl>
              <c:idx val="20"/>
              <c:tx>
                <c:rich>
                  <a:bodyPr/>
                  <a:lstStyle/>
                  <a:p>
                    <a:fld id="{1457F7E7-B520-4148-AF16-DE92CB9DE2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2B3-43D4-BD21-895ACA67225E}"/>
                </c:ext>
              </c:extLst>
            </c:dLbl>
            <c:dLbl>
              <c:idx val="21"/>
              <c:tx>
                <c:rich>
                  <a:bodyPr/>
                  <a:lstStyle/>
                  <a:p>
                    <a:fld id="{5B6E23D1-6B18-4C5F-A517-262A5FBBB5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66A5-42F8-9CB2-D500C2C49522}"/>
                </c:ext>
              </c:extLst>
            </c:dLbl>
            <c:dLbl>
              <c:idx val="22"/>
              <c:tx>
                <c:rich>
                  <a:bodyPr/>
                  <a:lstStyle/>
                  <a:p>
                    <a:fld id="{6C7A0D65-9CFE-41B4-843A-7FF2D0FDD6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6A5-42F8-9CB2-D500C2C49522}"/>
                </c:ext>
              </c:extLst>
            </c:dLbl>
            <c:dLbl>
              <c:idx val="23"/>
              <c:tx>
                <c:rich>
                  <a:bodyPr/>
                  <a:lstStyle/>
                  <a:p>
                    <a:fld id="{D41309CE-96D1-44AB-B91E-BB991EB010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79-43B7-8A1A-3B973BF29255}"/>
                </c:ext>
              </c:extLst>
            </c:dLbl>
            <c:dLbl>
              <c:idx val="24"/>
              <c:tx>
                <c:rich>
                  <a:bodyPr/>
                  <a:lstStyle/>
                  <a:p>
                    <a:fld id="{63BD6D66-041D-47D3-AC98-4DEF1250BF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79-43B7-8A1A-3B973BF29255}"/>
                </c:ext>
              </c:extLst>
            </c:dLbl>
            <c:dLbl>
              <c:idx val="25"/>
              <c:tx>
                <c:rich>
                  <a:bodyPr/>
                  <a:lstStyle/>
                  <a:p>
                    <a:fld id="{FB3DD83A-AF9F-481F-BA1A-30EF5C5851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79-43B7-8A1A-3B973BF29255}"/>
                </c:ext>
              </c:extLst>
            </c:dLbl>
            <c:dLbl>
              <c:idx val="26"/>
              <c:tx>
                <c:rich>
                  <a:bodyPr/>
                  <a:lstStyle/>
                  <a:p>
                    <a:fld id="{F80A1720-91A4-4039-B3E2-49C77356CC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79-43B7-8A1A-3B973BF29255}"/>
                </c:ext>
              </c:extLst>
            </c:dLbl>
            <c:dLbl>
              <c:idx val="27"/>
              <c:tx>
                <c:rich>
                  <a:bodyPr/>
                  <a:lstStyle/>
                  <a:p>
                    <a:fld id="{3B9DFD90-E89B-4B1A-AEAD-A05C6DBD36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79-43B7-8A1A-3B973BF29255}"/>
                </c:ext>
              </c:extLst>
            </c:dLbl>
            <c:dLbl>
              <c:idx val="28"/>
              <c:tx>
                <c:rich>
                  <a:bodyPr/>
                  <a:lstStyle/>
                  <a:p>
                    <a:fld id="{D1857912-2593-4A64-97CC-BA408A69EB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FE79-43B7-8A1A-3B973BF29255}"/>
                </c:ext>
              </c:extLst>
            </c:dLbl>
            <c:dLbl>
              <c:idx val="29"/>
              <c:tx>
                <c:rich>
                  <a:bodyPr/>
                  <a:lstStyle/>
                  <a:p>
                    <a:fld id="{0A517EC3-496C-4A94-B739-73BB24C839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FE79-43B7-8A1A-3B973BF29255}"/>
                </c:ext>
              </c:extLst>
            </c:dLbl>
            <c:dLbl>
              <c:idx val="30"/>
              <c:tx>
                <c:rich>
                  <a:bodyPr/>
                  <a:lstStyle/>
                  <a:p>
                    <a:fld id="{B2BD8A89-AA0F-4BDC-B331-B1B03738DE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FE79-43B7-8A1A-3B973BF29255}"/>
                </c:ext>
              </c:extLst>
            </c:dLbl>
            <c:dLbl>
              <c:idx val="31"/>
              <c:tx>
                <c:rich>
                  <a:bodyPr/>
                  <a:lstStyle/>
                  <a:p>
                    <a:fld id="{782BFDFF-D9F3-46E5-B2AC-6D199B945E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FE79-43B7-8A1A-3B973BF29255}"/>
                </c:ext>
              </c:extLst>
            </c:dLbl>
            <c:dLbl>
              <c:idx val="32"/>
              <c:tx>
                <c:rich>
                  <a:bodyPr/>
                  <a:lstStyle/>
                  <a:p>
                    <a:fld id="{BEF4468B-1AF9-4740-B72F-16A02655B5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FE79-43B7-8A1A-3B973BF29255}"/>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1</c:f>
              <c:numCache>
                <c:formatCode>General</c:formatCode>
                <c:ptCount val="10"/>
                <c:pt idx="0">
                  <c:v>-0.0017062853931237854</c:v>
                </c:pt>
                <c:pt idx="1">
                  <c:v>-0.0013156726178824851</c:v>
                </c:pt>
                <c:pt idx="2">
                  <c:v>-0.006286223755677681</c:v>
                </c:pt>
                <c:pt idx="3">
                  <c:v>0.005126886940841992</c:v>
                </c:pt>
                <c:pt idx="4">
                  <c:v>0.008375774482453545</c:v>
                </c:pt>
                <c:pt idx="5">
                  <c:v>-0.0001338564963119862</c:v>
                </c:pt>
                <c:pt idx="6">
                  <c:v>0.002590009295350283</c:v>
                </c:pt>
                <c:pt idx="7">
                  <c:v>0.0012796074994817289</c:v>
                </c:pt>
                <c:pt idx="8">
                  <c:v>0.0004113783933903138</c:v>
                </c:pt>
                <c:pt idx="9">
                  <c:v>-0.000994711614484973</c:v>
                </c:pt>
              </c:numCache>
            </c:numRef>
          </c:xVal>
          <c:yVal>
            <c:numRef>
              <c:f>Sheet1!$B$2:$B$11</c:f>
              <c:numCache>
                <c:formatCode>General</c:formatCode>
                <c:ptCount val="10"/>
                <c:pt idx="0">
                  <c:v>-0.008142340744372756</c:v>
                </c:pt>
                <c:pt idx="1">
                  <c:v>-0.010591382648368917</c:v>
                </c:pt>
                <c:pt idx="2">
                  <c:v>-0.007459783763891989</c:v>
                </c:pt>
                <c:pt idx="3">
                  <c:v>0.011182771066011905</c:v>
                </c:pt>
                <c:pt idx="4">
                  <c:v>0.007096273762599414</c:v>
                </c:pt>
                <c:pt idx="5">
                  <c:v>-0.0006383509389748937</c:v>
                </c:pt>
                <c:pt idx="6">
                  <c:v>0.0009941093042372916</c:v>
                </c:pt>
                <c:pt idx="7">
                  <c:v>-0.0005408724973232672</c:v>
                </c:pt>
                <c:pt idx="8">
                  <c:v>-0.003924624891824921</c:v>
                </c:pt>
                <c:pt idx="9">
                  <c:v>-0.00030912034837662916</c:v>
                </c:pt>
              </c:numCache>
            </c:numRef>
          </c:yVal>
          <c:bubbleSize>
            <c:numRef>
              <c:f>Sheet1!$C$2:$C$11</c:f>
              <c:numCache>
                <c:formatCode>General</c:formatCode>
                <c:ptCount val="10"/>
                <c:pt idx="0">
                  <c:v>189926117.0</c:v>
                </c:pt>
                <c:pt idx="1">
                  <c:v>39277810.0</c:v>
                </c:pt>
                <c:pt idx="2">
                  <c:v>33117229.0</c:v>
                </c:pt>
                <c:pt idx="3">
                  <c:v>33032864.0</c:v>
                </c:pt>
                <c:pt idx="4">
                  <c:v>30253337.0</c:v>
                </c:pt>
                <c:pt idx="5">
                  <c:v>29411346.0</c:v>
                </c:pt>
                <c:pt idx="6">
                  <c:v>22557022.0</c:v>
                </c:pt>
                <c:pt idx="7">
                  <c:v>17199711.0</c:v>
                </c:pt>
                <c:pt idx="8">
                  <c:v>15801842.0</c:v>
                </c:pt>
                <c:pt idx="9">
                  <c:v>4275865.0</c:v>
                </c:pt>
              </c:numCache>
            </c:numRef>
          </c:bubbleSize>
          <c:bubble3D val="0"/>
          <c:extLst>
            <c:ext xmlns:c15="http://schemas.microsoft.com/office/drawing/2012/chart" uri="{02D57815-91ED-43cb-92C2-25804820EDAC}">
              <c15:datalabelsRange>
                <c15:f>Sheet1!$D$2:$D$34</c15:f>
                <c15:dlblRangeCache>
                  <c:ptCount val="3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 </c:v>
                  </c:pt>
                  <c:pt idx="22">
                    <c:v>23 </c:v>
                  </c:pt>
                  <c:pt idx="23">
                    <c:v>24 </c:v>
                  </c:pt>
                  <c:pt idx="24">
                    <c:v>25 </c:v>
                  </c:pt>
                  <c:pt idx="25">
                    <c:v>26 </c:v>
                  </c:pt>
                  <c:pt idx="26">
                    <c:v>27 </c:v>
                  </c:pt>
                  <c:pt idx="27">
                    <c:v>28 </c:v>
                  </c:pt>
                  <c:pt idx="28">
                    <c:v>29 </c:v>
                  </c:pt>
                  <c:pt idx="29">
                    <c:v>30 </c:v>
                  </c:pt>
                  <c:pt idx="30">
                    <c:v>31 </c:v>
                  </c:pt>
                  <c:pt idx="31">
                    <c:v>32 </c:v>
                  </c:pt>
                  <c:pt idx="32">
                    <c:v>33 </c:v>
                  </c:pt>
                </c15:dlblRangeCache>
              </c15:datalabelsRange>
            </c:ext>
            <c:ext xmlns:c16="http://schemas.microsoft.com/office/drawing/2014/chart" uri="{C3380CC4-5D6E-409C-BE32-E72D297353CC}">
              <c16:uniqueId val="{00000000-E8D7-5D40-8192-48D91D141F56}"/>
            </c:ext>
          </c:extLst>
        </c:ser>
        <c:dLbls>
          <c:showLegendKey val="0"/>
          <c:showVal val="0"/>
          <c:showCatName val="0"/>
          <c:showSerName val="0"/>
          <c:showPercent val="0"/>
          <c:showBubbleSize val="0"/>
        </c:dLbls>
        <c:bubbleScale val="50"/>
        <c:showNegBubbles val="0"/>
        <c:axId val="1389925551"/>
        <c:axId val="1389927199"/>
      </c:bubbleChart>
      <c:valAx>
        <c:axId val="1389925551"/>
        <c:scaling>
          <c:orientation val="minMax"/>
        </c:scaling>
        <c:delete val="0"/>
        <c:axPos val="b"/>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7199"/>
        <c:crossesAt val="-0.0012333321700284763"/>
        <c:crossBetween val="midCat"/>
      </c:valAx>
      <c:valAx>
        <c:axId val="1389927199"/>
        <c:scaling>
          <c:orientation val="minMax"/>
        </c:scaling>
        <c:delete val="0"/>
        <c:axPos val="l"/>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5551"/>
        <c:crossesAt val="0.0007346906734036952"/>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374238658678002E-2"/>
          <c:y val="3.5678372632186241E-2"/>
          <c:w val="0.92883189647221065"/>
          <c:h val="0.87708287481703862"/>
        </c:manualLayout>
      </c:layout>
      <c:bubbleChart>
        <c:varyColors val="0"/>
        <c:ser>
          <c:idx val="0"/>
          <c:order val="0"/>
          <c:tx>
            <c:strRef>
              <c:f>Sheet1!$B$1</c:f>
              <c:strCache>
                <c:ptCount val="1"/>
                <c:pt idx="0">
                  <c:v>P3M Value Share</c:v>
                </c:pt>
              </c:strCache>
            </c:strRef>
          </c:tx>
          <c:spPr>
            <a:solidFill>
              <a:schemeClr val="bg1"/>
            </a:solidFill>
            <a:ln w="3175">
              <a:solidFill>
                <a:schemeClr val="tx2"/>
              </a:solidFill>
            </a:ln>
            <a:effectLst/>
          </c:spPr>
          <c:invertIfNegative val="0"/>
          <c:dPt>
            <c:idx val="2"/>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2-C625-D64F-9EE6-A56E35D3C48D}"/>
              </c:ext>
            </c:extLst>
          </c:dPt>
          <c:dPt>
            <c:idx val="3"/>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3-C625-D64F-9EE6-A56E35D3C48D}"/>
              </c:ext>
            </c:extLst>
          </c:dPt>
          <c:dLbls>
            <c:dLbl>
              <c:idx val="0"/>
              <c:tx>
                <c:rich>
                  <a:bodyPr/>
                  <a:lstStyle/>
                  <a:p>
                    <a:fld id="{7BCA69D4-D259-496E-8232-09A6B8B827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625-D64F-9EE6-A56E35D3C48D}"/>
                </c:ext>
              </c:extLst>
            </c:dLbl>
            <c:dLbl>
              <c:idx val="1"/>
              <c:tx>
                <c:rich>
                  <a:bodyPr/>
                  <a:lstStyle/>
                  <a:p>
                    <a:fld id="{8CEB6EB2-1124-477F-AC4E-7551DE801D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25-D64F-9EE6-A56E35D3C48D}"/>
                </c:ext>
              </c:extLst>
            </c:dLbl>
            <c:dLbl>
              <c:idx val="2"/>
              <c:tx>
                <c:rich>
                  <a:bodyPr/>
                  <a:lstStyle/>
                  <a:p>
                    <a:fld id="{25AD83AE-B636-4403-99D9-B92B83423F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25-D64F-9EE6-A56E35D3C48D}"/>
                </c:ext>
              </c:extLst>
            </c:dLbl>
            <c:dLbl>
              <c:idx val="3"/>
              <c:tx>
                <c:rich>
                  <a:bodyPr/>
                  <a:lstStyle/>
                  <a:p>
                    <a:fld id="{022EEF63-0DB9-4AAF-B6BD-489D2E13DA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25-D64F-9EE6-A56E35D3C48D}"/>
                </c:ext>
              </c:extLst>
            </c:dLbl>
            <c:dLbl>
              <c:idx val="4"/>
              <c:tx>
                <c:rich>
                  <a:bodyPr/>
                  <a:lstStyle/>
                  <a:p>
                    <a:fld id="{54B7F591-213D-48D7-BB63-1D66CE9D19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2B3-43D4-BD21-895ACA67225E}"/>
                </c:ext>
              </c:extLst>
            </c:dLbl>
            <c:dLbl>
              <c:idx val="5"/>
              <c:tx>
                <c:rich>
                  <a:bodyPr/>
                  <a:lstStyle/>
                  <a:p>
                    <a:fld id="{BE9EBF42-32C8-4A6B-A1EC-9518BD07E8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2B3-43D4-BD21-895ACA67225E}"/>
                </c:ext>
              </c:extLst>
            </c:dLbl>
            <c:dLbl>
              <c:idx val="6"/>
              <c:tx>
                <c:rich>
                  <a:bodyPr/>
                  <a:lstStyle/>
                  <a:p>
                    <a:fld id="{0B5236FB-6DE4-4D77-A259-C61FCBF6B0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2B3-43D4-BD21-895ACA67225E}"/>
                </c:ext>
              </c:extLst>
            </c:dLbl>
            <c:dLbl>
              <c:idx val="7"/>
              <c:tx>
                <c:rich>
                  <a:bodyPr/>
                  <a:lstStyle/>
                  <a:p>
                    <a:fld id="{8837FB7B-F67F-4F4E-8C10-BA03C22B9A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2B3-43D4-BD21-895ACA67225E}"/>
                </c:ext>
              </c:extLst>
            </c:dLbl>
            <c:dLbl>
              <c:idx val="8"/>
              <c:tx>
                <c:rich>
                  <a:bodyPr/>
                  <a:lstStyle/>
                  <a:p>
                    <a:fld id="{6A08F265-FA87-40E7-A7F1-D89AB86D4E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2B3-43D4-BD21-895ACA67225E}"/>
                </c:ext>
              </c:extLst>
            </c:dLbl>
            <c:dLbl>
              <c:idx val="9"/>
              <c:tx>
                <c:rich>
                  <a:bodyPr/>
                  <a:lstStyle/>
                  <a:p>
                    <a:fld id="{F311FE61-3527-45FF-9939-261A5F6B10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2B3-43D4-BD21-895ACA67225E}"/>
                </c:ext>
              </c:extLst>
            </c:dLbl>
            <c:dLbl>
              <c:idx val="10"/>
              <c:tx>
                <c:rich>
                  <a:bodyPr/>
                  <a:lstStyle/>
                  <a:p>
                    <a:fld id="{8B0526D2-1A90-4CA1-8367-4FE1D78090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2B3-43D4-BD21-895ACA67225E}"/>
                </c:ext>
              </c:extLst>
            </c:dLbl>
            <c:dLbl>
              <c:idx val="11"/>
              <c:tx>
                <c:rich>
                  <a:bodyPr/>
                  <a:lstStyle/>
                  <a:p>
                    <a:fld id="{E07D5EF6-E1DF-466A-B88E-A53FC0D3C2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2B3-43D4-BD21-895ACA67225E}"/>
                </c:ext>
              </c:extLst>
            </c:dLbl>
            <c:dLbl>
              <c:idx val="12"/>
              <c:tx>
                <c:rich>
                  <a:bodyPr/>
                  <a:lstStyle/>
                  <a:p>
                    <a:fld id="{137688B0-2C66-446A-A168-69768C39D7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2B3-43D4-BD21-895ACA67225E}"/>
                </c:ext>
              </c:extLst>
            </c:dLbl>
            <c:dLbl>
              <c:idx val="13"/>
              <c:tx>
                <c:rich>
                  <a:bodyPr/>
                  <a:lstStyle/>
                  <a:p>
                    <a:fld id="{A6515CE5-577C-4BF9-AA3B-4F14185C63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2B3-43D4-BD21-895ACA67225E}"/>
                </c:ext>
              </c:extLst>
            </c:dLbl>
            <c:dLbl>
              <c:idx val="14"/>
              <c:tx>
                <c:rich>
                  <a:bodyPr/>
                  <a:lstStyle/>
                  <a:p>
                    <a:fld id="{40E57784-EC1D-4C7D-9D5D-4782B3D731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2B3-43D4-BD21-895ACA67225E}"/>
                </c:ext>
              </c:extLst>
            </c:dLbl>
            <c:dLbl>
              <c:idx val="15"/>
              <c:tx>
                <c:rich>
                  <a:bodyPr/>
                  <a:lstStyle/>
                  <a:p>
                    <a:r>
                      <a:t>16</a:t>
                    </a: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2B3-43D4-BD21-895ACA67225E}"/>
                </c:ext>
              </c:extLst>
            </c:dLbl>
            <c:dLbl>
              <c:idx val="16"/>
              <c:tx>
                <c:rich>
                  <a:bodyPr/>
                  <a:lstStyle/>
                  <a:p>
                    <a:fld id="{58EB5F0B-BD1F-4D8D-9DC2-A9E7591F92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2B3-43D4-BD21-895ACA67225E}"/>
                </c:ext>
              </c:extLst>
            </c:dLbl>
            <c:dLbl>
              <c:idx val="17"/>
              <c:tx>
                <c:rich>
                  <a:bodyPr/>
                  <a:lstStyle/>
                  <a:p>
                    <a:fld id="{5829BB4A-52EA-43A0-85D6-ADF36250A4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2B3-43D4-BD21-895ACA67225E}"/>
                </c:ext>
              </c:extLst>
            </c:dLbl>
            <c:dLbl>
              <c:idx val="18"/>
              <c:tx>
                <c:rich>
                  <a:bodyPr/>
                  <a:lstStyle/>
                  <a:p>
                    <a:fld id="{361254A4-E8BF-4C49-8408-70F1E213DB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2B3-43D4-BD21-895ACA67225E}"/>
                </c:ext>
              </c:extLst>
            </c:dLbl>
            <c:dLbl>
              <c:idx val="19"/>
              <c:tx>
                <c:rich>
                  <a:bodyPr/>
                  <a:lstStyle/>
                  <a:p>
                    <a:fld id="{46C4F2CD-91A1-4B07-9C8F-1023176D18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2B3-43D4-BD21-895ACA67225E}"/>
                </c:ext>
              </c:extLst>
            </c:dLbl>
            <c:dLbl>
              <c:idx val="20"/>
              <c:tx>
                <c:rich>
                  <a:bodyPr/>
                  <a:lstStyle/>
                  <a:p>
                    <a:fld id="{A058D4C7-D0DA-4F9C-9B1C-A39044DFD2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2B3-43D4-BD21-895ACA67225E}"/>
                </c:ext>
              </c:extLst>
            </c:dLbl>
            <c:dLbl>
              <c:idx val="21"/>
              <c:tx>
                <c:rich>
                  <a:bodyPr/>
                  <a:lstStyle/>
                  <a:p>
                    <a:fld id="{1A5A05BD-DAE6-41A4-A75F-8740B119A3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66A5-42F8-9CB2-D500C2C49522}"/>
                </c:ext>
              </c:extLst>
            </c:dLbl>
            <c:dLbl>
              <c:idx val="22"/>
              <c:tx>
                <c:rich>
                  <a:bodyPr/>
                  <a:lstStyle/>
                  <a:p>
                    <a:fld id="{BA6A7A7D-3172-418D-B1C4-338D653B00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6A5-42F8-9CB2-D500C2C49522}"/>
                </c:ext>
              </c:extLst>
            </c:dLbl>
            <c:dLbl>
              <c:idx val="23"/>
              <c:tx>
                <c:rich>
                  <a:bodyPr/>
                  <a:lstStyle/>
                  <a:p>
                    <a:fld id="{CD3E9DC8-A398-4159-8D8E-2D979E3948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79-43B7-8A1A-3B973BF29255}"/>
                </c:ext>
              </c:extLst>
            </c:dLbl>
            <c:dLbl>
              <c:idx val="24"/>
              <c:tx>
                <c:rich>
                  <a:bodyPr/>
                  <a:lstStyle/>
                  <a:p>
                    <a:fld id="{633380AE-5E6E-4EE7-ABDB-99F8309C68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79-43B7-8A1A-3B973BF29255}"/>
                </c:ext>
              </c:extLst>
            </c:dLbl>
            <c:dLbl>
              <c:idx val="25"/>
              <c:tx>
                <c:rich>
                  <a:bodyPr/>
                  <a:lstStyle/>
                  <a:p>
                    <a:fld id="{9D84F977-E629-4895-8103-2B7002E7A1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79-43B7-8A1A-3B973BF29255}"/>
                </c:ext>
              </c:extLst>
            </c:dLbl>
            <c:dLbl>
              <c:idx val="26"/>
              <c:tx>
                <c:rich>
                  <a:bodyPr/>
                  <a:lstStyle/>
                  <a:p>
                    <a:fld id="{360D0352-40BC-4863-97B0-C05CB627DF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79-43B7-8A1A-3B973BF29255}"/>
                </c:ext>
              </c:extLst>
            </c:dLbl>
            <c:dLbl>
              <c:idx val="27"/>
              <c:tx>
                <c:rich>
                  <a:bodyPr/>
                  <a:lstStyle/>
                  <a:p>
                    <a:fld id="{643890BB-55D2-43C2-B349-3FCA70FCDF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79-43B7-8A1A-3B973BF29255}"/>
                </c:ext>
              </c:extLst>
            </c:dLbl>
            <c:dLbl>
              <c:idx val="28"/>
              <c:tx>
                <c:rich>
                  <a:bodyPr/>
                  <a:lstStyle/>
                  <a:p>
                    <a:fld id="{F27872DA-D490-4A68-8C55-46BDFDD022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FE79-43B7-8A1A-3B973BF29255}"/>
                </c:ext>
              </c:extLst>
            </c:dLbl>
            <c:dLbl>
              <c:idx val="29"/>
              <c:tx>
                <c:rich>
                  <a:bodyPr/>
                  <a:lstStyle/>
                  <a:p>
                    <a:fld id="{FF994B07-4C01-4D79-8160-696E744538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FE79-43B7-8A1A-3B973BF29255}"/>
                </c:ext>
              </c:extLst>
            </c:dLbl>
            <c:dLbl>
              <c:idx val="30"/>
              <c:tx>
                <c:rich>
                  <a:bodyPr/>
                  <a:lstStyle/>
                  <a:p>
                    <a:fld id="{1EC857EF-3152-4039-86AA-FDABC1BF49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FE79-43B7-8A1A-3B973BF29255}"/>
                </c:ext>
              </c:extLst>
            </c:dLbl>
            <c:dLbl>
              <c:idx val="31"/>
              <c:tx>
                <c:rich>
                  <a:bodyPr/>
                  <a:lstStyle/>
                  <a:p>
                    <a:fld id="{1F5FC011-05EC-4940-B092-23A42AEEE3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FE79-43B7-8A1A-3B973BF29255}"/>
                </c:ext>
              </c:extLst>
            </c:dLbl>
            <c:dLbl>
              <c:idx val="32"/>
              <c:tx>
                <c:rich>
                  <a:bodyPr/>
                  <a:lstStyle/>
                  <a:p>
                    <a:fld id="{C8261182-C43F-4C70-9F7F-8606223222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FE79-43B7-8A1A-3B973BF29255}"/>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7</c:f>
              <c:numCache>
                <c:formatCode>General</c:formatCode>
                <c:ptCount val="16"/>
                <c:pt idx="0">
                  <c:v>0.020218293789155628</c:v>
                </c:pt>
                <c:pt idx="1">
                  <c:v>-0.0036147079268124133</c:v>
                </c:pt>
                <c:pt idx="2">
                  <c:v>0.00165159806084611</c:v>
                </c:pt>
                <c:pt idx="3">
                  <c:v>-0.005670870970262427</c:v>
                </c:pt>
                <c:pt idx="4">
                  <c:v>0.002604151207509793</c:v>
                </c:pt>
                <c:pt idx="5">
                  <c:v>-0.0012911173636385095</c:v>
                </c:pt>
                <c:pt idx="6">
                  <c:v>7.209906985545383e-05</c:v>
                </c:pt>
                <c:pt idx="7">
                  <c:v>0.0005202098990815356</c:v>
                </c:pt>
                <c:pt idx="8">
                  <c:v>-0.0005082414911928915</c:v>
                </c:pt>
                <c:pt idx="9">
                  <c:v>-0.0001564235673150033</c:v>
                </c:pt>
                <c:pt idx="10">
                  <c:v>-0.0012485701985733288</c:v>
                </c:pt>
                <c:pt idx="11">
                  <c:v>-0.0006025620647285047</c:v>
                </c:pt>
                <c:pt idx="12">
                  <c:v>-0.0003580089989194922</c:v>
                </c:pt>
                <c:pt idx="13">
                  <c:v>-1.2917323032163178e-05</c:v>
                </c:pt>
                <c:pt idx="14">
                  <c:v>-1.9163770512940926e-05</c:v>
                </c:pt>
                <c:pt idx="15">
                  <c:v>1.7153555707729703e-08</c:v>
                </c:pt>
              </c:numCache>
            </c:numRef>
          </c:xVal>
          <c:yVal>
            <c:numRef>
              <c:f>Sheet1!$B$2:$B$17</c:f>
              <c:numCache>
                <c:formatCode>General</c:formatCode>
                <c:ptCount val="16"/>
                <c:pt idx="0">
                  <c:v>0.027715560410253665</c:v>
                </c:pt>
                <c:pt idx="1">
                  <c:v>-0.010135507645713651</c:v>
                </c:pt>
                <c:pt idx="2">
                  <c:v>-0.00596873833089949</c:v>
                </c:pt>
                <c:pt idx="3">
                  <c:v>-0.006430337696795296</c:v>
                </c:pt>
                <c:pt idx="4">
                  <c:v>0.0023542177710814474</c:v>
                </c:pt>
                <c:pt idx="5">
                  <c:v>-0.0011137772207581095</c:v>
                </c:pt>
                <c:pt idx="6">
                  <c:v>-0.00031063428921274464</c:v>
                </c:pt>
                <c:pt idx="7">
                  <c:v>-0.002356262643825241</c:v>
                </c:pt>
                <c:pt idx="8">
                  <c:v>-0.0010110157188331984</c:v>
                </c:pt>
                <c:pt idx="9">
                  <c:v>-0.0017257242817131785</c:v>
                </c:pt>
                <c:pt idx="10">
                  <c:v>-0.0030200089891390513</c:v>
                </c:pt>
                <c:pt idx="11">
                  <c:v>-0.0005837535656971196</c:v>
                </c:pt>
                <c:pt idx="12">
                  <c:v>-0.0010068758386959737</c:v>
                </c:pt>
                <c:pt idx="13">
                  <c:v>-0.0004931753853490932</c:v>
                </c:pt>
                <c:pt idx="14">
                  <c:v>-2.3634489492536623e-05</c:v>
                </c:pt>
                <c:pt idx="15">
                  <c:v>1.9128423267046278e-08</c:v>
                </c:pt>
              </c:numCache>
            </c:numRef>
          </c:yVal>
          <c:bubbleSize>
            <c:numRef>
              <c:f>Sheet1!$C$2:$C$17</c:f>
              <c:numCache>
                <c:formatCode>General</c:formatCode>
                <c:ptCount val="16"/>
                <c:pt idx="0">
                  <c:v>648086880.0</c:v>
                </c:pt>
                <c:pt idx="1">
                  <c:v>449001028.0</c:v>
                </c:pt>
                <c:pt idx="2">
                  <c:v>365370265.0</c:v>
                </c:pt>
                <c:pt idx="3">
                  <c:v>200738299.0</c:v>
                </c:pt>
                <c:pt idx="4">
                  <c:v>188621011.0</c:v>
                </c:pt>
                <c:pt idx="5">
                  <c:v>187705593.0</c:v>
                </c:pt>
                <c:pt idx="6">
                  <c:v>143118908.0</c:v>
                </c:pt>
                <c:pt idx="7">
                  <c:v>139659774.0</c:v>
                </c:pt>
                <c:pt idx="8">
                  <c:v>109186832.0</c:v>
                </c:pt>
                <c:pt idx="9">
                  <c:v>100313963.0</c:v>
                </c:pt>
                <c:pt idx="10">
                  <c:v>69893459.0</c:v>
                </c:pt>
                <c:pt idx="11">
                  <c:v>18356742.0</c:v>
                </c:pt>
                <c:pt idx="12">
                  <c:v>11870220.0</c:v>
                </c:pt>
                <c:pt idx="13">
                  <c:v>5842132.0</c:v>
                </c:pt>
                <c:pt idx="14">
                  <c:v>257559.0</c:v>
                </c:pt>
                <c:pt idx="15">
                  <c:v>80.0</c:v>
                </c:pt>
              </c:numCache>
            </c:numRef>
          </c:bubbleSize>
          <c:bubble3D val="0"/>
          <c:extLst>
            <c:ext xmlns:c15="http://schemas.microsoft.com/office/drawing/2012/chart" uri="{02D57815-91ED-43cb-92C2-25804820EDAC}">
              <c15:datalabelsRange>
                <c15:f>Sheet1!$D$2:$D$34</c15:f>
                <c15:dlblRangeCache>
                  <c:ptCount val="3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 </c:v>
                  </c:pt>
                  <c:pt idx="22">
                    <c:v>23 </c:v>
                  </c:pt>
                  <c:pt idx="23">
                    <c:v>24 </c:v>
                  </c:pt>
                  <c:pt idx="24">
                    <c:v>25 </c:v>
                  </c:pt>
                  <c:pt idx="25">
                    <c:v>26 </c:v>
                  </c:pt>
                  <c:pt idx="26">
                    <c:v>27 </c:v>
                  </c:pt>
                  <c:pt idx="27">
                    <c:v>28 </c:v>
                  </c:pt>
                  <c:pt idx="28">
                    <c:v>29 </c:v>
                  </c:pt>
                  <c:pt idx="29">
                    <c:v>30 </c:v>
                  </c:pt>
                  <c:pt idx="30">
                    <c:v>31 </c:v>
                  </c:pt>
                  <c:pt idx="31">
                    <c:v>32 </c:v>
                  </c:pt>
                  <c:pt idx="32">
                    <c:v>33 </c:v>
                  </c:pt>
                </c15:dlblRangeCache>
              </c15:datalabelsRange>
            </c:ext>
            <c:ext xmlns:c16="http://schemas.microsoft.com/office/drawing/2014/chart" uri="{C3380CC4-5D6E-409C-BE32-E72D297353CC}">
              <c16:uniqueId val="{00000000-E8D7-5D40-8192-48D91D141F56}"/>
            </c:ext>
          </c:extLst>
        </c:ser>
        <c:dLbls>
          <c:showLegendKey val="0"/>
          <c:showVal val="0"/>
          <c:showCatName val="0"/>
          <c:showSerName val="0"/>
          <c:showPercent val="0"/>
          <c:showBubbleSize val="0"/>
        </c:dLbls>
        <c:bubbleScale val="50"/>
        <c:showNegBubbles val="0"/>
        <c:axId val="1389925551"/>
        <c:axId val="1389927199"/>
      </c:bubbleChart>
      <c:valAx>
        <c:axId val="1389925551"/>
        <c:scaling>
          <c:orientation val="minMax"/>
        </c:scaling>
        <c:delete val="0"/>
        <c:axPos val="b"/>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7199"/>
        <c:crossesAt val="-0.00025685304914789395"/>
        <c:crossBetween val="midCat"/>
      </c:valAx>
      <c:valAx>
        <c:axId val="1389927199"/>
        <c:scaling>
          <c:orientation val="minMax"/>
        </c:scaling>
        <c:delete val="0"/>
        <c:axPos val="l"/>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5551"/>
        <c:crossesAt val="0.0007239865940635346"/>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374238658678002E-2"/>
          <c:y val="3.5678372632186241E-2"/>
          <c:w val="0.92883189647221065"/>
          <c:h val="0.87708287481703862"/>
        </c:manualLayout>
      </c:layout>
      <c:bubbleChart>
        <c:varyColors val="0"/>
        <c:ser>
          <c:idx val="0"/>
          <c:order val="0"/>
          <c:tx>
            <c:strRef>
              <c:f>Sheet1!$B$1</c:f>
              <c:strCache>
                <c:ptCount val="1"/>
                <c:pt idx="0">
                  <c:v>P3M Value Share</c:v>
                </c:pt>
              </c:strCache>
            </c:strRef>
          </c:tx>
          <c:spPr>
            <a:solidFill>
              <a:schemeClr val="bg1"/>
            </a:solidFill>
            <a:ln w="3175">
              <a:solidFill>
                <a:schemeClr val="tx2"/>
              </a:solidFill>
            </a:ln>
            <a:effectLst/>
          </c:spPr>
          <c:invertIfNegative val="0"/>
          <c:dPt>
            <c:idx val="2"/>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2-C625-D64F-9EE6-A56E35D3C48D}"/>
              </c:ext>
            </c:extLst>
          </c:dPt>
          <c:dPt>
            <c:idx val="3"/>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3-C625-D64F-9EE6-A56E35D3C48D}"/>
              </c:ext>
            </c:extLst>
          </c:dPt>
          <c:dLbls>
            <c:dLbl>
              <c:idx val="0"/>
              <c:tx>
                <c:rich>
                  <a:bodyPr/>
                  <a:lstStyle/>
                  <a:p>
                    <a:fld id="{2F17DCA4-30E0-4F13-A20D-1C454CFB85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625-D64F-9EE6-A56E35D3C48D}"/>
                </c:ext>
              </c:extLst>
            </c:dLbl>
            <c:dLbl>
              <c:idx val="1"/>
              <c:tx>
                <c:rich>
                  <a:bodyPr/>
                  <a:lstStyle/>
                  <a:p>
                    <a:fld id="{9D58E18D-0052-4177-97CE-B6BF5BBE87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25-D64F-9EE6-A56E35D3C48D}"/>
                </c:ext>
              </c:extLst>
            </c:dLbl>
            <c:dLbl>
              <c:idx val="2"/>
              <c:tx>
                <c:rich>
                  <a:bodyPr/>
                  <a:lstStyle/>
                  <a:p>
                    <a:fld id="{6F51B600-0F94-4E61-B1AA-726416E721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25-D64F-9EE6-A56E35D3C48D}"/>
                </c:ext>
              </c:extLst>
            </c:dLbl>
            <c:dLbl>
              <c:idx val="3"/>
              <c:tx>
                <c:rich>
                  <a:bodyPr/>
                  <a:lstStyle/>
                  <a:p>
                    <a:fld id="{BDD41E05-C382-4308-94E8-C709951041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25-D64F-9EE6-A56E35D3C48D}"/>
                </c:ext>
              </c:extLst>
            </c:dLbl>
            <c:dLbl>
              <c:idx val="4"/>
              <c:tx>
                <c:rich>
                  <a:bodyPr/>
                  <a:lstStyle/>
                  <a:p>
                    <a:fld id="{94037504-4BE9-4154-B9B8-FFAC4A87C2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2B3-43D4-BD21-895ACA67225E}"/>
                </c:ext>
              </c:extLst>
            </c:dLbl>
            <c:dLbl>
              <c:idx val="5"/>
              <c:tx>
                <c:rich>
                  <a:bodyPr/>
                  <a:lstStyle/>
                  <a:p>
                    <a:fld id="{50FD4F4A-D56B-4A14-8D62-F44352A51B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2B3-43D4-BD21-895ACA67225E}"/>
                </c:ext>
              </c:extLst>
            </c:dLbl>
            <c:dLbl>
              <c:idx val="6"/>
              <c:tx>
                <c:rich>
                  <a:bodyPr/>
                  <a:lstStyle/>
                  <a:p>
                    <a:fld id="{DC6F4225-E523-40C6-BF18-86753BEA2C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2B3-43D4-BD21-895ACA67225E}"/>
                </c:ext>
              </c:extLst>
            </c:dLbl>
            <c:dLbl>
              <c:idx val="7"/>
              <c:tx>
                <c:rich>
                  <a:bodyPr/>
                  <a:lstStyle/>
                  <a:p>
                    <a:fld id="{B04CCC25-3881-48D1-BCA8-4E10E5A532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2B3-43D4-BD21-895ACA67225E}"/>
                </c:ext>
              </c:extLst>
            </c:dLbl>
            <c:dLbl>
              <c:idx val="8"/>
              <c:tx>
                <c:rich>
                  <a:bodyPr/>
                  <a:lstStyle/>
                  <a:p>
                    <a:fld id="{0BFEBE94-DA9B-48E3-AF6A-97EFEE240D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2B3-43D4-BD21-895ACA67225E}"/>
                </c:ext>
              </c:extLst>
            </c:dLbl>
            <c:dLbl>
              <c:idx val="9"/>
              <c:tx>
                <c:rich>
                  <a:bodyPr/>
                  <a:lstStyle/>
                  <a:p>
                    <a:fld id="{3B190D9E-7F26-4FED-9130-B8952F219B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2B3-43D4-BD21-895ACA67225E}"/>
                </c:ext>
              </c:extLst>
            </c:dLbl>
            <c:dLbl>
              <c:idx val="10"/>
              <c:tx>
                <c:rich>
                  <a:bodyPr/>
                  <a:lstStyle/>
                  <a:p>
                    <a:fld id="{2ADE204D-5EE5-4A0A-B24C-20F4800564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2B3-43D4-BD21-895ACA67225E}"/>
                </c:ext>
              </c:extLst>
            </c:dLbl>
            <c:dLbl>
              <c:idx val="11"/>
              <c:tx>
                <c:rich>
                  <a:bodyPr/>
                  <a:lstStyle/>
                  <a:p>
                    <a:fld id="{C8E976E5-44E7-46A0-94D9-3391660949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2B3-43D4-BD21-895ACA67225E}"/>
                </c:ext>
              </c:extLst>
            </c:dLbl>
            <c:dLbl>
              <c:idx val="12"/>
              <c:tx>
                <c:rich>
                  <a:bodyPr/>
                  <a:lstStyle/>
                  <a:p>
                    <a:fld id="{E46F8E61-B55A-4D92-B980-086E1B12B2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2B3-43D4-BD21-895ACA67225E}"/>
                </c:ext>
              </c:extLst>
            </c:dLbl>
            <c:dLbl>
              <c:idx val="13"/>
              <c:tx>
                <c:rich>
                  <a:bodyPr/>
                  <a:lstStyle/>
                  <a:p>
                    <a:fld id="{7A052FD2-AFEC-4A1C-8F0C-6D06389287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2B3-43D4-BD21-895ACA67225E}"/>
                </c:ext>
              </c:extLst>
            </c:dLbl>
            <c:dLbl>
              <c:idx val="14"/>
              <c:tx>
                <c:rich>
                  <a:bodyPr/>
                  <a:lstStyle/>
                  <a:p>
                    <a:r>
                      <a:t>15</a:t>
                    </a: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2B3-43D4-BD21-895ACA67225E}"/>
                </c:ext>
              </c:extLst>
            </c:dLbl>
            <c:dLbl>
              <c:idx val="15"/>
              <c:tx>
                <c:rich>
                  <a:bodyPr/>
                  <a:lstStyle/>
                  <a:p>
                    <a:fld id="{F17B769D-8567-4E87-AB18-DA203E6DCE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2B3-43D4-BD21-895ACA67225E}"/>
                </c:ext>
              </c:extLst>
            </c:dLbl>
            <c:dLbl>
              <c:idx val="16"/>
              <c:tx>
                <c:rich>
                  <a:bodyPr/>
                  <a:lstStyle/>
                  <a:p>
                    <a:fld id="{08EAC776-2EA0-4982-9B91-1D7C61487C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2B3-43D4-BD21-895ACA67225E}"/>
                </c:ext>
              </c:extLst>
            </c:dLbl>
            <c:dLbl>
              <c:idx val="17"/>
              <c:tx>
                <c:rich>
                  <a:bodyPr/>
                  <a:lstStyle/>
                  <a:p>
                    <a:fld id="{29D3DA2C-9C00-4ED4-8634-39C5EEDF7D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2B3-43D4-BD21-895ACA67225E}"/>
                </c:ext>
              </c:extLst>
            </c:dLbl>
            <c:dLbl>
              <c:idx val="18"/>
              <c:tx>
                <c:rich>
                  <a:bodyPr/>
                  <a:lstStyle/>
                  <a:p>
                    <a:fld id="{85FBF2CF-2C56-43F8-846B-B3CE99BEEC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2B3-43D4-BD21-895ACA67225E}"/>
                </c:ext>
              </c:extLst>
            </c:dLbl>
            <c:dLbl>
              <c:idx val="19"/>
              <c:tx>
                <c:rich>
                  <a:bodyPr/>
                  <a:lstStyle/>
                  <a:p>
                    <a:fld id="{8D1A09EC-AA75-4A91-AB06-4D0E0C16A5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2B3-43D4-BD21-895ACA67225E}"/>
                </c:ext>
              </c:extLst>
            </c:dLbl>
            <c:dLbl>
              <c:idx val="20"/>
              <c:tx>
                <c:rich>
                  <a:bodyPr/>
                  <a:lstStyle/>
                  <a:p>
                    <a:fld id="{18FDC497-4382-4A00-BC5C-19641A24D7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2B3-43D4-BD21-895ACA67225E}"/>
                </c:ext>
              </c:extLst>
            </c:dLbl>
            <c:dLbl>
              <c:idx val="21"/>
              <c:tx>
                <c:rich>
                  <a:bodyPr/>
                  <a:lstStyle/>
                  <a:p>
                    <a:fld id="{E27200F0-BE40-4294-898F-5C6CDC4528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66A5-42F8-9CB2-D500C2C49522}"/>
                </c:ext>
              </c:extLst>
            </c:dLbl>
            <c:dLbl>
              <c:idx val="22"/>
              <c:tx>
                <c:rich>
                  <a:bodyPr/>
                  <a:lstStyle/>
                  <a:p>
                    <a:fld id="{F0AD7B3A-93CC-4DD6-BB9E-C41C089985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6A5-42F8-9CB2-D500C2C49522}"/>
                </c:ext>
              </c:extLst>
            </c:dLbl>
            <c:dLbl>
              <c:idx val="23"/>
              <c:tx>
                <c:rich>
                  <a:bodyPr/>
                  <a:lstStyle/>
                  <a:p>
                    <a:fld id="{1708A26D-EACC-417C-93C3-71343C337D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79-43B7-8A1A-3B973BF29255}"/>
                </c:ext>
              </c:extLst>
            </c:dLbl>
            <c:dLbl>
              <c:idx val="24"/>
              <c:tx>
                <c:rich>
                  <a:bodyPr/>
                  <a:lstStyle/>
                  <a:p>
                    <a:fld id="{635EB0F6-2431-4F86-857B-26E9BF2A52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79-43B7-8A1A-3B973BF29255}"/>
                </c:ext>
              </c:extLst>
            </c:dLbl>
            <c:dLbl>
              <c:idx val="25"/>
              <c:tx>
                <c:rich>
                  <a:bodyPr/>
                  <a:lstStyle/>
                  <a:p>
                    <a:fld id="{FCE9E82E-7B64-40CE-BB26-C423975F12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79-43B7-8A1A-3B973BF29255}"/>
                </c:ext>
              </c:extLst>
            </c:dLbl>
            <c:dLbl>
              <c:idx val="26"/>
              <c:tx>
                <c:rich>
                  <a:bodyPr/>
                  <a:lstStyle/>
                  <a:p>
                    <a:fld id="{B843249A-E77C-40FF-B12D-B2A85FF90F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79-43B7-8A1A-3B973BF29255}"/>
                </c:ext>
              </c:extLst>
            </c:dLbl>
            <c:dLbl>
              <c:idx val="27"/>
              <c:tx>
                <c:rich>
                  <a:bodyPr/>
                  <a:lstStyle/>
                  <a:p>
                    <a:fld id="{599E5307-0E21-4B9C-A443-D43E2AE1A2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79-43B7-8A1A-3B973BF29255}"/>
                </c:ext>
              </c:extLst>
            </c:dLbl>
            <c:dLbl>
              <c:idx val="28"/>
              <c:tx>
                <c:rich>
                  <a:bodyPr/>
                  <a:lstStyle/>
                  <a:p>
                    <a:fld id="{051748C8-1A49-420F-90E9-5473A55CF9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FE79-43B7-8A1A-3B973BF29255}"/>
                </c:ext>
              </c:extLst>
            </c:dLbl>
            <c:dLbl>
              <c:idx val="29"/>
              <c:tx>
                <c:rich>
                  <a:bodyPr/>
                  <a:lstStyle/>
                  <a:p>
                    <a:fld id="{70345D91-2365-419F-8943-C1A36EAE49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FE79-43B7-8A1A-3B973BF29255}"/>
                </c:ext>
              </c:extLst>
            </c:dLbl>
            <c:dLbl>
              <c:idx val="30"/>
              <c:tx>
                <c:rich>
                  <a:bodyPr/>
                  <a:lstStyle/>
                  <a:p>
                    <a:fld id="{1C043533-731D-48FA-85D6-267F0C467B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FE79-43B7-8A1A-3B973BF29255}"/>
                </c:ext>
              </c:extLst>
            </c:dLbl>
            <c:dLbl>
              <c:idx val="31"/>
              <c:tx>
                <c:rich>
                  <a:bodyPr/>
                  <a:lstStyle/>
                  <a:p>
                    <a:fld id="{9942D8A5-0E8F-408C-A829-92BCA6D9BC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FE79-43B7-8A1A-3B973BF29255}"/>
                </c:ext>
              </c:extLst>
            </c:dLbl>
            <c:dLbl>
              <c:idx val="32"/>
              <c:tx>
                <c:rich>
                  <a:bodyPr/>
                  <a:lstStyle/>
                  <a:p>
                    <a:fld id="{C2BF6556-D4BA-4309-B014-58C16E1B4D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FE79-43B7-8A1A-3B973BF29255}"/>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6</c:f>
              <c:numCache>
                <c:formatCode>General</c:formatCode>
                <c:ptCount val="15"/>
                <c:pt idx="0">
                  <c:v>0.011844461033472892</c:v>
                </c:pt>
                <c:pt idx="1">
                  <c:v>-0.0021229716101102553</c:v>
                </c:pt>
                <c:pt idx="2">
                  <c:v>-0.001329620707458956</c:v>
                </c:pt>
                <c:pt idx="3">
                  <c:v>-0.0030294543814810143</c:v>
                </c:pt>
                <c:pt idx="4">
                  <c:v>-0.0009453409388434295</c:v>
                </c:pt>
                <c:pt idx="5">
                  <c:v>0.002470406430932666</c:v>
                </c:pt>
                <c:pt idx="6">
                  <c:v>-0.0023102146231548243</c:v>
                </c:pt>
                <c:pt idx="7">
                  <c:v>-0.000723103158809392</c:v>
                </c:pt>
                <c:pt idx="8">
                  <c:v>-0.00018647522348557918</c:v>
                </c:pt>
                <c:pt idx="9">
                  <c:v>7.536962605079155e-05</c:v>
                </c:pt>
                <c:pt idx="10">
                  <c:v>0.0001688279662768995</c:v>
                </c:pt>
                <c:pt idx="11">
                  <c:v>-0.00013839686036518951</c:v>
                </c:pt>
                <c:pt idx="12">
                  <c:v>-0.0003301930688043796</c:v>
                </c:pt>
                <c:pt idx="13">
                  <c:v>-2.3923534159421415e-06</c:v>
                </c:pt>
                <c:pt idx="14">
                  <c:v>1.0036248533548841e-07</c:v>
                </c:pt>
              </c:numCache>
            </c:numRef>
          </c:xVal>
          <c:yVal>
            <c:numRef>
              <c:f>Sheet1!$B$2:$B$16</c:f>
              <c:numCache>
                <c:formatCode>General</c:formatCode>
                <c:ptCount val="15"/>
                <c:pt idx="0">
                  <c:v>0.019579482518041674</c:v>
                </c:pt>
                <c:pt idx="1">
                  <c:v>-0.007463074252475943</c:v>
                </c:pt>
                <c:pt idx="2">
                  <c:v>-0.005682734028732296</c:v>
                </c:pt>
                <c:pt idx="3">
                  <c:v>-0.004072234127118837</c:v>
                </c:pt>
                <c:pt idx="4">
                  <c:v>-0.00038620665758017786</c:v>
                </c:pt>
                <c:pt idx="5">
                  <c:v>0.0022923308704537737</c:v>
                </c:pt>
                <c:pt idx="6">
                  <c:v>-0.0048908007046048994</c:v>
                </c:pt>
                <c:pt idx="7">
                  <c:v>0.0003735695683465337</c:v>
                </c:pt>
                <c:pt idx="8">
                  <c:v>-0.0027579933876997545</c:v>
                </c:pt>
                <c:pt idx="9">
                  <c:v>0.00010059957179582059</c:v>
                </c:pt>
                <c:pt idx="10">
                  <c:v>0.00022604203576527277</c:v>
                </c:pt>
                <c:pt idx="11">
                  <c:v>-0.0002052076798608046</c:v>
                </c:pt>
                <c:pt idx="12">
                  <c:v>-0.0009431342566099926</c:v>
                </c:pt>
                <c:pt idx="13">
                  <c:v>4.5012338201769604e-05</c:v>
                </c:pt>
                <c:pt idx="14">
                  <c:v>1.1152300943159527e-07</c:v>
                </c:pt>
              </c:numCache>
            </c:numRef>
          </c:yVal>
          <c:bubbleSize>
            <c:numRef>
              <c:f>Sheet1!$C$2:$C$16</c:f>
              <c:numCache>
                <c:formatCode>General</c:formatCode>
                <c:ptCount val="15"/>
                <c:pt idx="0">
                  <c:v>111360239.0</c:v>
                </c:pt>
                <c:pt idx="1">
                  <c:v>63368876.0</c:v>
                </c:pt>
                <c:pt idx="2">
                  <c:v>55354482.0</c:v>
                </c:pt>
                <c:pt idx="3">
                  <c:v>34407631.0</c:v>
                </c:pt>
                <c:pt idx="4">
                  <c:v>32529804.0</c:v>
                </c:pt>
                <c:pt idx="5">
                  <c:v>30956719.0</c:v>
                </c:pt>
                <c:pt idx="6">
                  <c:v>30468308.0</c:v>
                </c:pt>
                <c:pt idx="7">
                  <c:v>21233281.0</c:v>
                </c:pt>
                <c:pt idx="8">
                  <c:v>16850297.0</c:v>
                </c:pt>
                <c:pt idx="9">
                  <c:v>12208672.0</c:v>
                </c:pt>
                <c:pt idx="10">
                  <c:v>3679581.0</c:v>
                </c:pt>
                <c:pt idx="11">
                  <c:v>3196825.0</c:v>
                </c:pt>
                <c:pt idx="12">
                  <c:v>1583106.0</c:v>
                </c:pt>
                <c:pt idx="13">
                  <c:v>114877.0</c:v>
                </c:pt>
                <c:pt idx="14">
                  <c:v>80.0</c:v>
                </c:pt>
              </c:numCache>
            </c:numRef>
          </c:bubbleSize>
          <c:bubble3D val="0"/>
          <c:extLst>
            <c:ext xmlns:c15="http://schemas.microsoft.com/office/drawing/2012/chart" uri="{02D57815-91ED-43cb-92C2-25804820EDAC}">
              <c15:datalabelsRange>
                <c15:f>Sheet1!$D$2:$D$34</c15:f>
                <c15:dlblRangeCache>
                  <c:ptCount val="3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 </c:v>
                  </c:pt>
                  <c:pt idx="22">
                    <c:v>23 </c:v>
                  </c:pt>
                  <c:pt idx="23">
                    <c:v>24 </c:v>
                  </c:pt>
                  <c:pt idx="24">
                    <c:v>25 </c:v>
                  </c:pt>
                  <c:pt idx="25">
                    <c:v>26 </c:v>
                  </c:pt>
                  <c:pt idx="26">
                    <c:v>27 </c:v>
                  </c:pt>
                  <c:pt idx="27">
                    <c:v>28 </c:v>
                  </c:pt>
                  <c:pt idx="28">
                    <c:v>29 </c:v>
                  </c:pt>
                  <c:pt idx="29">
                    <c:v>30 </c:v>
                  </c:pt>
                  <c:pt idx="30">
                    <c:v>31 </c:v>
                  </c:pt>
                  <c:pt idx="31">
                    <c:v>32 </c:v>
                  </c:pt>
                  <c:pt idx="32">
                    <c:v>33 </c:v>
                  </c:pt>
                </c15:dlblRangeCache>
              </c15:datalabelsRange>
            </c:ext>
            <c:ext xmlns:c16="http://schemas.microsoft.com/office/drawing/2014/chart" uri="{C3380CC4-5D6E-409C-BE32-E72D297353CC}">
              <c16:uniqueId val="{00000000-E8D7-5D40-8192-48D91D141F56}"/>
            </c:ext>
          </c:extLst>
        </c:ser>
        <c:dLbls>
          <c:showLegendKey val="0"/>
          <c:showVal val="0"/>
          <c:showCatName val="0"/>
          <c:showSerName val="0"/>
          <c:showPercent val="0"/>
          <c:showBubbleSize val="0"/>
        </c:dLbls>
        <c:bubbleScale val="50"/>
        <c:showNegBubbles val="0"/>
        <c:axId val="1389925551"/>
        <c:axId val="1389927199"/>
      </c:bubbleChart>
      <c:valAx>
        <c:axId val="1389925551"/>
        <c:scaling>
          <c:orientation val="minMax"/>
        </c:scaling>
        <c:delete val="0"/>
        <c:axPos val="b"/>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7199"/>
        <c:crossesAt val="-0.000252282444604562"/>
        <c:crossBetween val="midCat"/>
      </c:valAx>
      <c:valAx>
        <c:axId val="1389927199"/>
        <c:scaling>
          <c:orientation val="minMax"/>
        </c:scaling>
        <c:delete val="0"/>
        <c:axPos val="l"/>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5551"/>
        <c:crossesAt val="0.00022940016621930814"/>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374238658678002E-2"/>
          <c:y val="3.5678372632186241E-2"/>
          <c:w val="0.92883189647221065"/>
          <c:h val="0.87708287481703862"/>
        </c:manualLayout>
      </c:layout>
      <c:bubbleChart>
        <c:varyColors val="0"/>
        <c:ser>
          <c:idx val="0"/>
          <c:order val="0"/>
          <c:tx>
            <c:strRef>
              <c:f>Sheet1!$B$1</c:f>
              <c:strCache>
                <c:ptCount val="1"/>
                <c:pt idx="0">
                  <c:v>P3M Value Share</c:v>
                </c:pt>
              </c:strCache>
            </c:strRef>
          </c:tx>
          <c:spPr>
            <a:solidFill>
              <a:schemeClr val="bg1"/>
            </a:solidFill>
            <a:ln w="3175">
              <a:solidFill>
                <a:schemeClr val="tx2"/>
              </a:solidFill>
            </a:ln>
            <a:effectLst/>
          </c:spPr>
          <c:invertIfNegative val="0"/>
          <c:dPt>
            <c:idx val="2"/>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2-C625-D64F-9EE6-A56E35D3C48D}"/>
              </c:ext>
            </c:extLst>
          </c:dPt>
          <c:dPt>
            <c:idx val="3"/>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3-C625-D64F-9EE6-A56E35D3C48D}"/>
              </c:ext>
            </c:extLst>
          </c:dPt>
          <c:dLbls>
            <c:dLbl>
              <c:idx val="0"/>
              <c:tx>
                <c:rich>
                  <a:bodyPr/>
                  <a:lstStyle/>
                  <a:p>
                    <a:fld id="{B5867D69-E6EF-4905-A23A-195D607D9D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625-D64F-9EE6-A56E35D3C48D}"/>
                </c:ext>
              </c:extLst>
            </c:dLbl>
            <c:dLbl>
              <c:idx val="1"/>
              <c:tx>
                <c:rich>
                  <a:bodyPr/>
                  <a:lstStyle/>
                  <a:p>
                    <a:fld id="{AD0BCACE-6626-4112-A026-53BA7F5618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25-D64F-9EE6-A56E35D3C48D}"/>
                </c:ext>
              </c:extLst>
            </c:dLbl>
            <c:dLbl>
              <c:idx val="2"/>
              <c:tx>
                <c:rich>
                  <a:bodyPr/>
                  <a:lstStyle/>
                  <a:p>
                    <a:fld id="{FD22E20F-E5B0-443E-8F5E-BE013EA8C1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25-D64F-9EE6-A56E35D3C48D}"/>
                </c:ext>
              </c:extLst>
            </c:dLbl>
            <c:dLbl>
              <c:idx val="3"/>
              <c:tx>
                <c:rich>
                  <a:bodyPr/>
                  <a:lstStyle/>
                  <a:p>
                    <a:fld id="{B04D97A0-24BA-454D-BF74-04105A9C19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25-D64F-9EE6-A56E35D3C48D}"/>
                </c:ext>
              </c:extLst>
            </c:dLbl>
            <c:dLbl>
              <c:idx val="4"/>
              <c:tx>
                <c:rich>
                  <a:bodyPr/>
                  <a:lstStyle/>
                  <a:p>
                    <a:fld id="{D924FE0C-AF92-44A6-9937-26D1A32723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2B3-43D4-BD21-895ACA67225E}"/>
                </c:ext>
              </c:extLst>
            </c:dLbl>
            <c:dLbl>
              <c:idx val="5"/>
              <c:tx>
                <c:rich>
                  <a:bodyPr/>
                  <a:lstStyle/>
                  <a:p>
                    <a:fld id="{E16D1F5C-EB45-43C1-8275-AD17F50352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2B3-43D4-BD21-895ACA67225E}"/>
                </c:ext>
              </c:extLst>
            </c:dLbl>
            <c:dLbl>
              <c:idx val="6"/>
              <c:tx>
                <c:rich>
                  <a:bodyPr/>
                  <a:lstStyle/>
                  <a:p>
                    <a:fld id="{A27B5503-693D-4EBF-984A-50486F8C66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2B3-43D4-BD21-895ACA67225E}"/>
                </c:ext>
              </c:extLst>
            </c:dLbl>
            <c:dLbl>
              <c:idx val="7"/>
              <c:tx>
                <c:rich>
                  <a:bodyPr/>
                  <a:lstStyle/>
                  <a:p>
                    <a:fld id="{D8814380-7D4C-48FB-9C27-0D81FEF162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2B3-43D4-BD21-895ACA67225E}"/>
                </c:ext>
              </c:extLst>
            </c:dLbl>
            <c:dLbl>
              <c:idx val="8"/>
              <c:tx>
                <c:rich>
                  <a:bodyPr/>
                  <a:lstStyle/>
                  <a:p>
                    <a:fld id="{311733F1-838A-4682-B566-C0AD196A3F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2B3-43D4-BD21-895ACA67225E}"/>
                </c:ext>
              </c:extLst>
            </c:dLbl>
            <c:dLbl>
              <c:idx val="9"/>
              <c:tx>
                <c:rich>
                  <a:bodyPr/>
                  <a:lstStyle/>
                  <a:p>
                    <a:fld id="{975FCB95-78BA-4448-B5EA-B7595F5ACE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2B3-43D4-BD21-895ACA67225E}"/>
                </c:ext>
              </c:extLst>
            </c:dLbl>
            <c:dLbl>
              <c:idx val="10"/>
              <c:tx>
                <c:rich>
                  <a:bodyPr/>
                  <a:lstStyle/>
                  <a:p>
                    <a:fld id="{F0705DB6-6310-47CE-93FB-DBDA2FB640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2B3-43D4-BD21-895ACA67225E}"/>
                </c:ext>
              </c:extLst>
            </c:dLbl>
            <c:dLbl>
              <c:idx val="11"/>
              <c:tx>
                <c:rich>
                  <a:bodyPr/>
                  <a:lstStyle/>
                  <a:p>
                    <a:fld id="{9548CE4E-3F84-42AE-9A6C-974795823C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2B3-43D4-BD21-895ACA67225E}"/>
                </c:ext>
              </c:extLst>
            </c:dLbl>
            <c:dLbl>
              <c:idx val="12"/>
              <c:tx>
                <c:rich>
                  <a:bodyPr/>
                  <a:lstStyle/>
                  <a:p>
                    <a:r>
                      <a:t>13</a:t>
                    </a:r>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2B3-43D4-BD21-895ACA67225E}"/>
                </c:ext>
              </c:extLst>
            </c:dLbl>
            <c:dLbl>
              <c:idx val="13"/>
              <c:tx>
                <c:rich>
                  <a:bodyPr/>
                  <a:lstStyle/>
                  <a:p>
                    <a:fld id="{0B3819ED-1832-44DA-AF6A-1CBC6C3B64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2B3-43D4-BD21-895ACA67225E}"/>
                </c:ext>
              </c:extLst>
            </c:dLbl>
            <c:dLbl>
              <c:idx val="14"/>
              <c:tx>
                <c:rich>
                  <a:bodyPr/>
                  <a:lstStyle/>
                  <a:p>
                    <a:fld id="{A26F43DD-5750-4A84-AE45-AD062EBE84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2B3-43D4-BD21-895ACA67225E}"/>
                </c:ext>
              </c:extLst>
            </c:dLbl>
            <c:dLbl>
              <c:idx val="15"/>
              <c:tx>
                <c:rich>
                  <a:bodyPr/>
                  <a:lstStyle/>
                  <a:p>
                    <a:fld id="{4FD306B7-F781-4D3F-B022-BC2CAA91BF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2B3-43D4-BD21-895ACA67225E}"/>
                </c:ext>
              </c:extLst>
            </c:dLbl>
            <c:dLbl>
              <c:idx val="16"/>
              <c:tx>
                <c:rich>
                  <a:bodyPr/>
                  <a:lstStyle/>
                  <a:p>
                    <a:fld id="{DCD6C773-30E0-4BF7-A0DA-157D7A294F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2B3-43D4-BD21-895ACA67225E}"/>
                </c:ext>
              </c:extLst>
            </c:dLbl>
            <c:dLbl>
              <c:idx val="17"/>
              <c:tx>
                <c:rich>
                  <a:bodyPr/>
                  <a:lstStyle/>
                  <a:p>
                    <a:fld id="{0016581E-0A12-4815-847D-2626447737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2B3-43D4-BD21-895ACA67225E}"/>
                </c:ext>
              </c:extLst>
            </c:dLbl>
            <c:dLbl>
              <c:idx val="18"/>
              <c:tx>
                <c:rich>
                  <a:bodyPr/>
                  <a:lstStyle/>
                  <a:p>
                    <a:fld id="{E77A868B-3740-4D70-AAF6-A424F76004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2B3-43D4-BD21-895ACA67225E}"/>
                </c:ext>
              </c:extLst>
            </c:dLbl>
            <c:dLbl>
              <c:idx val="19"/>
              <c:tx>
                <c:rich>
                  <a:bodyPr/>
                  <a:lstStyle/>
                  <a:p>
                    <a:fld id="{523D9973-F020-419A-92B3-9FAE95C2C2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2B3-43D4-BD21-895ACA67225E}"/>
                </c:ext>
              </c:extLst>
            </c:dLbl>
            <c:dLbl>
              <c:idx val="20"/>
              <c:tx>
                <c:rich>
                  <a:bodyPr/>
                  <a:lstStyle/>
                  <a:p>
                    <a:fld id="{9CF27FB2-EC09-4858-8837-70945339E7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2B3-43D4-BD21-895ACA67225E}"/>
                </c:ext>
              </c:extLst>
            </c:dLbl>
            <c:dLbl>
              <c:idx val="21"/>
              <c:tx>
                <c:rich>
                  <a:bodyPr/>
                  <a:lstStyle/>
                  <a:p>
                    <a:fld id="{2A7C4F2C-1882-42FE-85BA-51F9B33C8A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66A5-42F8-9CB2-D500C2C49522}"/>
                </c:ext>
              </c:extLst>
            </c:dLbl>
            <c:dLbl>
              <c:idx val="22"/>
              <c:tx>
                <c:rich>
                  <a:bodyPr/>
                  <a:lstStyle/>
                  <a:p>
                    <a:fld id="{BA61B1F6-1480-4686-B840-B15CA47FF8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6A5-42F8-9CB2-D500C2C49522}"/>
                </c:ext>
              </c:extLst>
            </c:dLbl>
            <c:dLbl>
              <c:idx val="23"/>
              <c:tx>
                <c:rich>
                  <a:bodyPr/>
                  <a:lstStyle/>
                  <a:p>
                    <a:fld id="{12A5D3DC-2D59-4D0B-9F42-D4FB841E8F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79-43B7-8A1A-3B973BF29255}"/>
                </c:ext>
              </c:extLst>
            </c:dLbl>
            <c:dLbl>
              <c:idx val="24"/>
              <c:tx>
                <c:rich>
                  <a:bodyPr/>
                  <a:lstStyle/>
                  <a:p>
                    <a:fld id="{AAE8398D-14D6-4440-8D5B-2A7DB2A110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79-43B7-8A1A-3B973BF29255}"/>
                </c:ext>
              </c:extLst>
            </c:dLbl>
            <c:dLbl>
              <c:idx val="25"/>
              <c:tx>
                <c:rich>
                  <a:bodyPr/>
                  <a:lstStyle/>
                  <a:p>
                    <a:fld id="{95DF1711-BED6-43FB-87CF-5B98BE01D5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79-43B7-8A1A-3B973BF29255}"/>
                </c:ext>
              </c:extLst>
            </c:dLbl>
            <c:dLbl>
              <c:idx val="26"/>
              <c:tx>
                <c:rich>
                  <a:bodyPr/>
                  <a:lstStyle/>
                  <a:p>
                    <a:fld id="{7C8F37E5-D9B4-4501-BD45-0DA6A30EBC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79-43B7-8A1A-3B973BF29255}"/>
                </c:ext>
              </c:extLst>
            </c:dLbl>
            <c:dLbl>
              <c:idx val="27"/>
              <c:tx>
                <c:rich>
                  <a:bodyPr/>
                  <a:lstStyle/>
                  <a:p>
                    <a:fld id="{ADA351F6-9264-4CE6-9679-6CD4303ABD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79-43B7-8A1A-3B973BF29255}"/>
                </c:ext>
              </c:extLst>
            </c:dLbl>
            <c:dLbl>
              <c:idx val="28"/>
              <c:tx>
                <c:rich>
                  <a:bodyPr/>
                  <a:lstStyle/>
                  <a:p>
                    <a:fld id="{C8F044EC-04DE-4B6F-9945-E653D55CA9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FE79-43B7-8A1A-3B973BF29255}"/>
                </c:ext>
              </c:extLst>
            </c:dLbl>
            <c:dLbl>
              <c:idx val="29"/>
              <c:tx>
                <c:rich>
                  <a:bodyPr/>
                  <a:lstStyle/>
                  <a:p>
                    <a:fld id="{406D71FA-69AC-4E7D-A86D-F5E493C797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FE79-43B7-8A1A-3B973BF29255}"/>
                </c:ext>
              </c:extLst>
            </c:dLbl>
            <c:dLbl>
              <c:idx val="30"/>
              <c:tx>
                <c:rich>
                  <a:bodyPr/>
                  <a:lstStyle/>
                  <a:p>
                    <a:fld id="{9FA55D59-3B85-4244-8E81-F997045358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FE79-43B7-8A1A-3B973BF29255}"/>
                </c:ext>
              </c:extLst>
            </c:dLbl>
            <c:dLbl>
              <c:idx val="31"/>
              <c:tx>
                <c:rich>
                  <a:bodyPr/>
                  <a:lstStyle/>
                  <a:p>
                    <a:fld id="{0496EC9A-719D-4D55-919B-363A7A0471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FE79-43B7-8A1A-3B973BF29255}"/>
                </c:ext>
              </c:extLst>
            </c:dLbl>
            <c:dLbl>
              <c:idx val="32"/>
              <c:tx>
                <c:rich>
                  <a:bodyPr/>
                  <a:lstStyle/>
                  <a:p>
                    <a:fld id="{EC208452-CCE8-4379-BFB8-F60FED6E29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FE79-43B7-8A1A-3B973BF29255}"/>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4</c:f>
              <c:numCache>
                <c:formatCode>General</c:formatCode>
                <c:ptCount val="13"/>
                <c:pt idx="0">
                  <c:v>0.009695927384920047</c:v>
                </c:pt>
                <c:pt idx="1">
                  <c:v>-0.007150916856916115</c:v>
                </c:pt>
                <c:pt idx="2">
                  <c:v>2.6235912363004044e-05</c:v>
                </c:pt>
                <c:pt idx="3">
                  <c:v>-0.006286223755677681</c:v>
                </c:pt>
                <c:pt idx="4">
                  <c:v>0.008375774482453545</c:v>
                </c:pt>
                <c:pt idx="5">
                  <c:v>-0.0001338564963119862</c:v>
                </c:pt>
                <c:pt idx="6">
                  <c:v>0.002590009295350283</c:v>
                </c:pt>
                <c:pt idx="7">
                  <c:v>0.0011670159763541993</c:v>
                </c:pt>
                <c:pt idx="8">
                  <c:v>-0.003936604819034552</c:v>
                </c:pt>
                <c:pt idx="9">
                  <c:v>0.0006889704095271142</c:v>
                </c:pt>
                <c:pt idx="10">
                  <c:v>-0.000994711614484973</c:v>
                </c:pt>
                <c:pt idx="11">
                  <c:v>-0.0002775920161368021</c:v>
                </c:pt>
                <c:pt idx="12">
                  <c:v>0.00011259152312752827</c:v>
                </c:pt>
              </c:numCache>
            </c:numRef>
          </c:xVal>
          <c:yVal>
            <c:numRef>
              <c:f>Sheet1!$B$2:$B$14</c:f>
              <c:numCache>
                <c:formatCode>General</c:formatCode>
                <c:ptCount val="13"/>
                <c:pt idx="0">
                  <c:v>0.01712343128297092</c:v>
                </c:pt>
                <c:pt idx="1">
                  <c:v>-0.012050699267758203</c:v>
                </c:pt>
                <c:pt idx="2">
                  <c:v>-0.004288234057059928</c:v>
                </c:pt>
                <c:pt idx="3">
                  <c:v>-0.007459783763891989</c:v>
                </c:pt>
                <c:pt idx="4">
                  <c:v>0.007096273762599414</c:v>
                </c:pt>
                <c:pt idx="5">
                  <c:v>-0.0006383509389748937</c:v>
                </c:pt>
                <c:pt idx="6">
                  <c:v>0.0009941093042372916</c:v>
                </c:pt>
                <c:pt idx="7">
                  <c:v>0.00017305871071325932</c:v>
                </c:pt>
                <c:pt idx="8">
                  <c:v>-0.0064273256702692926</c:v>
                </c:pt>
                <c:pt idx="9">
                  <c:v>-0.0028918681905599347</c:v>
                </c:pt>
                <c:pt idx="10">
                  <c:v>-0.00030912034837662916</c:v>
                </c:pt>
                <c:pt idx="11">
                  <c:v>-0.0010327567012649872</c:v>
                </c:pt>
                <c:pt idx="12">
                  <c:v>-0.000713931208036528</c:v>
                </c:pt>
              </c:numCache>
            </c:numRef>
          </c:yVal>
          <c:bubbleSize>
            <c:numRef>
              <c:f>Sheet1!$C$2:$C$14</c:f>
              <c:numCache>
                <c:formatCode>General</c:formatCode>
                <c:ptCount val="13"/>
                <c:pt idx="0">
                  <c:v>70217825.0</c:v>
                </c:pt>
                <c:pt idx="1">
                  <c:v>47045541.0</c:v>
                </c:pt>
                <c:pt idx="2">
                  <c:v>41485949.0</c:v>
                </c:pt>
                <c:pt idx="3">
                  <c:v>33117229.0</c:v>
                </c:pt>
                <c:pt idx="4">
                  <c:v>30253337.0</c:v>
                </c:pt>
                <c:pt idx="5">
                  <c:v>29411346.0</c:v>
                </c:pt>
                <c:pt idx="6">
                  <c:v>22557022.0</c:v>
                </c:pt>
                <c:pt idx="7">
                  <c:v>16396938.0</c:v>
                </c:pt>
                <c:pt idx="8">
                  <c:v>14481315.0</c:v>
                </c:pt>
                <c:pt idx="9">
                  <c:v>14007524.0</c:v>
                </c:pt>
                <c:pt idx="10">
                  <c:v>4275865.0</c:v>
                </c:pt>
                <c:pt idx="11">
                  <c:v>1794318.0</c:v>
                </c:pt>
                <c:pt idx="12">
                  <c:v>802773.0</c:v>
                </c:pt>
              </c:numCache>
            </c:numRef>
          </c:bubbleSize>
          <c:bubble3D val="0"/>
          <c:extLst>
            <c:ext xmlns:c15="http://schemas.microsoft.com/office/drawing/2012/chart" uri="{02D57815-91ED-43cb-92C2-25804820EDAC}">
              <c15:datalabelsRange>
                <c15:f>Sheet1!$D$2:$D$34</c15:f>
                <c15:dlblRangeCache>
                  <c:ptCount val="3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 </c:v>
                  </c:pt>
                  <c:pt idx="22">
                    <c:v>23 </c:v>
                  </c:pt>
                  <c:pt idx="23">
                    <c:v>24 </c:v>
                  </c:pt>
                  <c:pt idx="24">
                    <c:v>25 </c:v>
                  </c:pt>
                  <c:pt idx="25">
                    <c:v>26 </c:v>
                  </c:pt>
                  <c:pt idx="26">
                    <c:v>27 </c:v>
                  </c:pt>
                  <c:pt idx="27">
                    <c:v>28 </c:v>
                  </c:pt>
                  <c:pt idx="28">
                    <c:v>29 </c:v>
                  </c:pt>
                  <c:pt idx="29">
                    <c:v>30 </c:v>
                  </c:pt>
                  <c:pt idx="30">
                    <c:v>31 </c:v>
                  </c:pt>
                  <c:pt idx="31">
                    <c:v>32 </c:v>
                  </c:pt>
                  <c:pt idx="32">
                    <c:v>33 </c:v>
                  </c:pt>
                </c15:dlblRangeCache>
              </c15:datalabelsRange>
            </c:ext>
            <c:ext xmlns:c16="http://schemas.microsoft.com/office/drawing/2014/chart" uri="{C3380CC4-5D6E-409C-BE32-E72D297353CC}">
              <c16:uniqueId val="{00000000-E8D7-5D40-8192-48D91D141F56}"/>
            </c:ext>
          </c:extLst>
        </c:ser>
        <c:dLbls>
          <c:showLegendKey val="0"/>
          <c:showVal val="0"/>
          <c:showCatName val="0"/>
          <c:showSerName val="0"/>
          <c:showPercent val="0"/>
          <c:showBubbleSize val="0"/>
        </c:dLbls>
        <c:bubbleScale val="50"/>
        <c:showNegBubbles val="0"/>
        <c:axId val="1389925551"/>
        <c:axId val="1389927199"/>
      </c:bubbleChart>
      <c:valAx>
        <c:axId val="1389925551"/>
        <c:scaling>
          <c:orientation val="minMax"/>
        </c:scaling>
        <c:delete val="0"/>
        <c:axPos val="b"/>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7199"/>
        <c:crossesAt val="-0.0008019382373593461"/>
        <c:crossBetween val="midCat"/>
      </c:valAx>
      <c:valAx>
        <c:axId val="1389927199"/>
        <c:scaling>
          <c:orientation val="minMax"/>
        </c:scaling>
        <c:delete val="0"/>
        <c:axPos val="l"/>
        <c:numFmt formatCode="#,##0.0%" sourceLinked="0"/>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5551"/>
        <c:crossesAt val="0.0002982014942718163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020612273594695973</c:v>
                </c:pt>
                <c:pt idx="1">
                  <c:v>-0.027876643612773616</c:v>
                </c:pt>
                <c:pt idx="2">
                  <c:v>0.007688576598518425</c:v>
                </c:pt>
                <c:pt idx="3">
                  <c:v>0.002082306241973663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5761758411035977</c:v>
                </c:pt>
                <c:pt idx="1">
                  <c:v>0.1437258079183278</c:v>
                </c:pt>
                <c:pt idx="2">
                  <c:v>0.11759484104560203</c:v>
                </c:pt>
                <c:pt idx="3">
                  <c:v>0.08074436821165584</c:v>
                </c:pt>
                <c:pt idx="4">
                  <c:v>0.07348363680211986</c:v>
                </c:pt>
                <c:pt idx="5">
                  <c:v>0.00827550491869683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3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5</c:f>
              <c:numCache>
                <c:formatCode>General</c:formatCode>
                <c:ptCount val="4"/>
                <c:pt idx="0">
                  <c:v>-0.06583440874016078</c:v>
                </c:pt>
                <c:pt idx="1">
                  <c:v>0.058561437150990575</c:v>
                </c:pt>
                <c:pt idx="2">
                  <c:v>0.0017136362695813756</c:v>
                </c:pt>
                <c:pt idx="3">
                  <c:v>0.005559335319588911</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3629726605717514</c:v>
                </c:pt>
                <c:pt idx="1">
                  <c:v>0.039901864727342154</c:v>
                </c:pt>
                <c:pt idx="2">
                  <c:v>0.03929497366740148</c:v>
                </c:pt>
                <c:pt idx="3">
                  <c:v>0.03717734044954222</c:v>
                </c:pt>
                <c:pt idx="4">
                  <c:v>0.03686494305339173</c:v>
                </c:pt>
                <c:pt idx="5">
                  <c:v>0.03572310614263331</c:v>
                </c:pt>
                <c:pt idx="6">
                  <c:v>0.028915068219525632</c:v>
                </c:pt>
                <c:pt idx="7">
                  <c:v>0.02501410916196438</c:v>
                </c:pt>
                <c:pt idx="8">
                  <c:v>0.023146682105111414</c:v>
                </c:pt>
                <c:pt idx="9">
                  <c:v>0.397664646415912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7</c:f>
              <c:numCache>
                <c:formatCode>General</c:formatCode>
                <c:ptCount val="6"/>
                <c:pt idx="0">
                  <c:v>-0.06257873780638201</c:v>
                </c:pt>
                <c:pt idx="1">
                  <c:v>0.051657270995826454</c:v>
                </c:pt>
                <c:pt idx="2">
                  <c:v>-0.0032556709337787926</c:v>
                </c:pt>
                <c:pt idx="3">
                  <c:v>0.006904166155164121</c:v>
                </c:pt>
                <c:pt idx="4">
                  <c:v>0.0017136362695813756</c:v>
                </c:pt>
                <c:pt idx="5">
                  <c:v>0.005559335319588911</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3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7829967728451062</c:v>
                </c:pt>
                <c:pt idx="1">
                  <c:v>0.10358334814043174</c:v>
                </c:pt>
                <c:pt idx="2">
                  <c:v>0.09572537917922513</c:v>
                </c:pt>
                <c:pt idx="3">
                  <c:v>0.017640743555211277</c:v>
                </c:pt>
                <c:pt idx="4">
                  <c:v>5.3756280025725276e-0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6</c:f>
              <c:numCache>
                <c:formatCode>General</c:formatCode>
                <c:ptCount val="5"/>
                <c:pt idx="0">
                  <c:v>0.005261118967287981</c:v>
                </c:pt>
                <c:pt idx="1">
                  <c:v>-0.0037726411377078384</c:v>
                </c:pt>
                <c:pt idx="2">
                  <c:v>0.0027522387566950024</c:v>
                </c:pt>
                <c:pt idx="3">
                  <c:v>-0.004244766615401661</c:v>
                </c:pt>
                <c:pt idx="4">
                  <c:v>4.050029126586435e-06</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78751536034013</c:v>
                </c:pt>
                <c:pt idx="1">
                  <c:v>0.2757886139319489</c:v>
                </c:pt>
                <c:pt idx="2">
                  <c:v>0.22845662287914417</c:v>
                </c:pt>
                <c:pt idx="3">
                  <c:v>0.10358334814043174</c:v>
                </c:pt>
                <c:pt idx="4">
                  <c:v>0.09572537917922513</c:v>
                </c:pt>
                <c:pt idx="5">
                  <c:v>0.017640743555211277</c:v>
                </c:pt>
                <c:pt idx="6">
                  <c:v>5.3756280025725276e-05</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3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6</c:f>
              <c:numCache>
                <c:formatCode>General</c:formatCode>
                <c:ptCount val="5"/>
                <c:pt idx="0">
                  <c:v>-0.0004213287853243042</c:v>
                </c:pt>
                <c:pt idx="1">
                  <c:v>0.007459732699290816</c:v>
                </c:pt>
                <c:pt idx="2">
                  <c:v>0.007641243203236087</c:v>
                </c:pt>
                <c:pt idx="3">
                  <c:v>-0.01472428637463968</c:v>
                </c:pt>
                <c:pt idx="4">
                  <c:v>4.543977649372401e-0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8</c:f>
              <c:numCache>
                <c:formatCode>General</c:formatCode>
                <c:ptCount val="7"/>
                <c:pt idx="0">
                  <c:v>-0.025400742970360102</c:v>
                </c:pt>
                <c:pt idx="1">
                  <c:v>0.006372680196070124</c:v>
                </c:pt>
                <c:pt idx="2">
                  <c:v>0.018606733988965563</c:v>
                </c:pt>
                <c:pt idx="3">
                  <c:v>0.007459732699290816</c:v>
                </c:pt>
                <c:pt idx="4">
                  <c:v>0.007641243203236087</c:v>
                </c:pt>
                <c:pt idx="5">
                  <c:v>-0.014720684038885181</c:v>
                </c:pt>
                <c:pt idx="6">
                  <c:v>4.543977649372401e-0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3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7653687708117598</c:v>
                </c:pt>
                <c:pt idx="1">
                  <c:v>0.1258307547492551</c:v>
                </c:pt>
                <c:pt idx="2">
                  <c:v>0.0863831811789481</c:v>
                </c:pt>
                <c:pt idx="3">
                  <c:v>0.02241606414349526</c:v>
                </c:pt>
                <c:pt idx="4">
                  <c:v>1.229116541757698e-0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6</c:f>
              <c:numCache>
                <c:formatCode>General</c:formatCode>
                <c:ptCount val="5"/>
                <c:pt idx="0">
                  <c:v>0.011148375693849077</c:v>
                </c:pt>
                <c:pt idx="1">
                  <c:v>0.0030822445373458462</c:v>
                </c:pt>
                <c:pt idx="2">
                  <c:v>-0.002217369845993661</c:v>
                </c:pt>
                <c:pt idx="3">
                  <c:v>-0.011954768473472627</c:v>
                </c:pt>
                <c:pt idx="4">
                  <c:v>-5.84819117286876e-0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897948502065428</c:v>
                </c:pt>
                <c:pt idx="1">
                  <c:v>0.241380359332221</c:v>
                </c:pt>
                <c:pt idx="2">
                  <c:v>0.234193561272996</c:v>
                </c:pt>
                <c:pt idx="3">
                  <c:v>0.1258307547492551</c:v>
                </c:pt>
                <c:pt idx="4">
                  <c:v>0.0863831811789481</c:v>
                </c:pt>
                <c:pt idx="5">
                  <c:v>0.02241606414349526</c:v>
                </c:pt>
                <c:pt idx="6">
                  <c:v>1.229116541757698e-0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3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6</c:f>
              <c:numCache>
                <c:formatCode>General</c:formatCode>
                <c:ptCount val="5"/>
                <c:pt idx="0">
                  <c:v>0.010017840206605233</c:v>
                </c:pt>
                <c:pt idx="1">
                  <c:v>-0.00834448798289647</c:v>
                </c:pt>
                <c:pt idx="2">
                  <c:v>0.011781618705277677</c:v>
                </c:pt>
                <c:pt idx="3">
                  <c:v>-0.013456200045528218</c:v>
                </c:pt>
                <c:pt idx="4">
                  <c:v>1.229116541757698e-06</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3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9</c:f>
              <c:numCache>
                <c:formatCode>General</c:formatCode>
                <c:ptCount val="8"/>
                <c:pt idx="0">
                  <c:v>0.0032889723828109507</c:v>
                </c:pt>
                <c:pt idx="1">
                  <c:v>-0.0021595501016213325</c:v>
                </c:pt>
                <c:pt idx="2">
                  <c:v>-0.005213142088831391</c:v>
                </c:pt>
                <c:pt idx="3">
                  <c:v>-0.007257363248396265</c:v>
                </c:pt>
                <c:pt idx="4">
                  <c:v>-0.0036551158897621533</c:v>
                </c:pt>
                <c:pt idx="5">
                  <c:v>0.00807879831495244</c:v>
                </c:pt>
                <c:pt idx="6">
                  <c:v>0.00287227746190993</c:v>
                </c:pt>
                <c:pt idx="7">
                  <c:v>0.004045123168937857</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8</c:f>
              <c:numCache>
                <c:formatCode>General</c:formatCode>
                <c:ptCount val="7"/>
                <c:pt idx="0">
                  <c:v>0.024643776628135772</c:v>
                </c:pt>
                <c:pt idx="1">
                  <c:v>-0.028919033111566933</c:v>
                </c:pt>
                <c:pt idx="2">
                  <c:v>0.014293096690036422</c:v>
                </c:pt>
                <c:pt idx="3">
                  <c:v>-0.00834448798289647</c:v>
                </c:pt>
                <c:pt idx="4">
                  <c:v>0.011781618705277677</c:v>
                </c:pt>
                <c:pt idx="5">
                  <c:v>-0.013456200045528218</c:v>
                </c:pt>
                <c:pt idx="6">
                  <c:v>1.229116541757698e-06</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3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4884751483121521</c:v>
                </c:pt>
                <c:pt idx="1">
                  <c:v>0.16213784063548314</c:v>
                </c:pt>
                <c:pt idx="2">
                  <c:v>0.12966800019878572</c:v>
                </c:pt>
                <c:pt idx="3">
                  <c:v>0.11270341231064868</c:v>
                </c:pt>
                <c:pt idx="4">
                  <c:v>0.07082597692426837</c:v>
                </c:pt>
                <c:pt idx="5">
                  <c:v>0.02045274459494004</c:v>
                </c:pt>
                <c:pt idx="6">
                  <c:v>0.0157368770237219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8</c:f>
              <c:numCache>
                <c:formatCode>General</c:formatCode>
                <c:ptCount val="7"/>
                <c:pt idx="0">
                  <c:v>-0.011880980829830523</c:v>
                </c:pt>
                <c:pt idx="1">
                  <c:v>0.012862358575007948</c:v>
                </c:pt>
                <c:pt idx="2">
                  <c:v>0.008877522585220482</c:v>
                </c:pt>
                <c:pt idx="3">
                  <c:v>-0.0012643718906026336</c:v>
                </c:pt>
                <c:pt idx="4">
                  <c:v>-0.010574807378413542</c:v>
                </c:pt>
                <c:pt idx="5">
                  <c:v>0.001765058172454998</c:v>
                </c:pt>
                <c:pt idx="6">
                  <c:v>0.00021522076616326555</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970859348380675</c:v>
                </c:pt>
                <c:pt idx="1">
                  <c:v>0.16043379926377807</c:v>
                </c:pt>
                <c:pt idx="2">
                  <c:v>0.12966800019878572</c:v>
                </c:pt>
                <c:pt idx="3">
                  <c:v>0.10616482532513906</c:v>
                </c:pt>
                <c:pt idx="4">
                  <c:v>0.10235644019547083</c:v>
                </c:pt>
                <c:pt idx="5">
                  <c:v>0.07424221878310637</c:v>
                </c:pt>
                <c:pt idx="6">
                  <c:v>0.07082597692426837</c:v>
                </c:pt>
                <c:pt idx="7">
                  <c:v>0.010346095515999654</c:v>
                </c:pt>
                <c:pt idx="8">
                  <c:v>8.765991781950135e-07</c:v>
                </c:pt>
                <c:pt idx="9">
                  <c:v>0.04887583235620621</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3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8</c:f>
              <c:numCache>
                <c:formatCode>General</c:formatCode>
                <c:ptCount val="7"/>
                <c:pt idx="0">
                  <c:v>0.010400351399100782</c:v>
                </c:pt>
                <c:pt idx="1">
                  <c:v>0.0241074210164767</c:v>
                </c:pt>
                <c:pt idx="2">
                  <c:v>-0.02529790207202781</c:v>
                </c:pt>
                <c:pt idx="3">
                  <c:v>-0.009475257100948375</c:v>
                </c:pt>
                <c:pt idx="4">
                  <c:v>-0.0013176793481519122</c:v>
                </c:pt>
                <c:pt idx="5">
                  <c:v>-0.00016697484005347846</c:v>
                </c:pt>
                <c:pt idx="6">
                  <c:v>0.001750040945604071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1134454544063962</c:v>
                </c:pt>
                <c:pt idx="1">
                  <c:v>0.022403379644771626</c:v>
                </c:pt>
                <c:pt idx="2">
                  <c:v>-0.02529790207202781</c:v>
                </c:pt>
                <c:pt idx="3">
                  <c:v>-0.007571663426298211</c:v>
                </c:pt>
                <c:pt idx="4">
                  <c:v>-0.0016381527987664318</c:v>
                </c:pt>
                <c:pt idx="5">
                  <c:v>0.006348276808085251</c:v>
                </c:pt>
                <c:pt idx="6">
                  <c:v>-0.0013176793481519122</c:v>
                </c:pt>
                <c:pt idx="7">
                  <c:v>-0.007837980901360146</c:v>
                </c:pt>
                <c:pt idx="8">
                  <c:v>8.765991781950135e-07</c:v>
                </c:pt>
                <c:pt idx="9">
                  <c:v>0.003566300053929794</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3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5327641343980166</c:v>
                </c:pt>
                <c:pt idx="1">
                  <c:v>0.1429643255150754</c:v>
                </c:pt>
                <c:pt idx="2">
                  <c:v>0.14290204190012662</c:v>
                </c:pt>
                <c:pt idx="3">
                  <c:v>0.14154369181989615</c:v>
                </c:pt>
                <c:pt idx="4">
                  <c:v>0.03541112975172889</c:v>
                </c:pt>
                <c:pt idx="5">
                  <c:v>0.00441467661515634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7</c:f>
              <c:numCache>
                <c:formatCode>General</c:formatCode>
                <c:ptCount val="6"/>
                <c:pt idx="0">
                  <c:v>-0.04318776859500345</c:v>
                </c:pt>
                <c:pt idx="1">
                  <c:v>0.028186621013422383</c:v>
                </c:pt>
                <c:pt idx="2">
                  <c:v>0.008412212768040467</c:v>
                </c:pt>
                <c:pt idx="3">
                  <c:v>0.005997778808454424</c:v>
                </c:pt>
                <c:pt idx="4">
                  <c:v>-0.0005302128607557605</c:v>
                </c:pt>
                <c:pt idx="5">
                  <c:v>0.001121368865841971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33495661866567283</c:v>
                </c:pt>
                <c:pt idx="1">
                  <c:v>0.14290204190012662</c:v>
                </c:pt>
                <c:pt idx="2">
                  <c:v>0.1426367440068825</c:v>
                </c:pt>
                <c:pt idx="3">
                  <c:v>0.1347789063774303</c:v>
                </c:pt>
                <c:pt idx="4">
                  <c:v>0.1150146018748184</c:v>
                </c:pt>
                <c:pt idx="5">
                  <c:v>0.07201400188506042</c:v>
                </c:pt>
                <c:pt idx="6">
                  <c:v>0.03541112975172889</c:v>
                </c:pt>
                <c:pt idx="7">
                  <c:v>0.006764785442465831</c:v>
                </c:pt>
                <c:pt idx="8">
                  <c:v>0.015521170095814189</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3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7</c:f>
              <c:numCache>
                <c:formatCode>General</c:formatCode>
                <c:ptCount val="6"/>
                <c:pt idx="0">
                  <c:v>0.05888448856273143</c:v>
                </c:pt>
                <c:pt idx="1">
                  <c:v>0.03857495301711164</c:v>
                </c:pt>
                <c:pt idx="2">
                  <c:v>-0.05194657609086256</c:v>
                </c:pt>
                <c:pt idx="3">
                  <c:v>-0.0310744094576704</c:v>
                </c:pt>
                <c:pt idx="4">
                  <c:v>-0.012056496698223847</c:v>
                </c:pt>
                <c:pt idx="5">
                  <c:v>-0.0023819593330862156</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1</c:f>
              <c:numCache>
                <c:formatCode>General</c:formatCode>
                <c:ptCount val="10"/>
                <c:pt idx="0">
                  <c:v>0.0032889723828109507</c:v>
                </c:pt>
                <c:pt idx="1">
                  <c:v>-0.005385926165081503</c:v>
                </c:pt>
                <c:pt idx="2">
                  <c:v>0.0023890765166431835</c:v>
                </c:pt>
                <c:pt idx="3">
                  <c:v>0.0014797971671665563</c:v>
                </c:pt>
                <c:pt idx="4">
                  <c:v>-0.004072234127118837</c:v>
                </c:pt>
                <c:pt idx="5">
                  <c:v>-0.00038620665758017786</c:v>
                </c:pt>
                <c:pt idx="6">
                  <c:v>-0.004890689181595468</c:v>
                </c:pt>
                <c:pt idx="7">
                  <c:v>-0.0005695646882634582</c:v>
                </c:pt>
                <c:pt idx="8">
                  <c:v>0.00016644626590205797</c:v>
                </c:pt>
                <c:pt idx="9">
                  <c:v>0.00798032848711669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10</c:f>
              <c:numCache>
                <c:formatCode>General</c:formatCode>
                <c:ptCount val="9"/>
                <c:pt idx="0">
                  <c:v>0.04184384015149606</c:v>
                </c:pt>
                <c:pt idx="1">
                  <c:v>-0.05194657609086256</c:v>
                </c:pt>
                <c:pt idx="2">
                  <c:v>0.03824737150891874</c:v>
                </c:pt>
                <c:pt idx="3">
                  <c:v>-0.025591011469155156</c:v>
                </c:pt>
                <c:pt idx="4">
                  <c:v>0.004606373446908438</c:v>
                </c:pt>
                <c:pt idx="5">
                  <c:v>0.009567502839361294</c:v>
                </c:pt>
                <c:pt idx="6">
                  <c:v>-0.012056496698223847</c:v>
                </c:pt>
                <c:pt idx="7">
                  <c:v>-0.0054833979885152455</c:v>
                </c:pt>
                <c:pt idx="8">
                  <c:v>0.003054010268147564</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3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5237334716855074</c:v>
                </c:pt>
                <c:pt idx="1">
                  <c:v>0.18613857317233173</c:v>
                </c:pt>
                <c:pt idx="2">
                  <c:v>0.09968495112324784</c:v>
                </c:pt>
                <c:pt idx="3">
                  <c:v>0.024235701196868683</c:v>
                </c:pt>
                <c:pt idx="4">
                  <c:v>0.016144620862610648</c:v>
                </c:pt>
                <c:pt idx="5">
                  <c:v>0.1500626819594336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7</c:f>
              <c:numCache>
                <c:formatCode>General</c:formatCode>
                <c:ptCount val="6"/>
                <c:pt idx="0">
                  <c:v>0.019667218573067524</c:v>
                </c:pt>
                <c:pt idx="1">
                  <c:v>-0.018388093706605324</c:v>
                </c:pt>
                <c:pt idx="2">
                  <c:v>0.006713962146498942</c:v>
                </c:pt>
                <c:pt idx="3">
                  <c:v>0.0028015025907381468</c:v>
                </c:pt>
                <c:pt idx="4">
                  <c:v>-0.0008108977100785703</c:v>
                </c:pt>
                <c:pt idx="5">
                  <c:v>-0.009983691893620819</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5237334716855074</c:v>
                </c:pt>
                <c:pt idx="1">
                  <c:v>0.1085288811207007</c:v>
                </c:pt>
                <c:pt idx="2">
                  <c:v>0.09396399990213104</c:v>
                </c:pt>
                <c:pt idx="3">
                  <c:v>0.07490979364952201</c:v>
                </c:pt>
                <c:pt idx="4">
                  <c:v>0.024235701196868683</c:v>
                </c:pt>
                <c:pt idx="5">
                  <c:v>0.016144620862610648</c:v>
                </c:pt>
                <c:pt idx="6">
                  <c:v>0.15848353158265943</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3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7</c:f>
              <c:numCache>
                <c:formatCode>General</c:formatCode>
                <c:ptCount val="6"/>
                <c:pt idx="0">
                  <c:v>-0.00612542148230566</c:v>
                </c:pt>
                <c:pt idx="1">
                  <c:v>-0.021815276979494314</c:v>
                </c:pt>
                <c:pt idx="2">
                  <c:v>0.0132622070638891</c:v>
                </c:pt>
                <c:pt idx="3">
                  <c:v>0.003404909932586353</c:v>
                </c:pt>
                <c:pt idx="4">
                  <c:v>-0.002870022864424903</c:v>
                </c:pt>
                <c:pt idx="5">
                  <c:v>0.014143604329749426</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8</c:f>
              <c:numCache>
                <c:formatCode>General</c:formatCode>
                <c:ptCount val="7"/>
                <c:pt idx="0">
                  <c:v>-0.00612542148230566</c:v>
                </c:pt>
                <c:pt idx="1">
                  <c:v>-0.009814810416832145</c:v>
                </c:pt>
                <c:pt idx="2">
                  <c:v>0.007541255842772307</c:v>
                </c:pt>
                <c:pt idx="3">
                  <c:v>-0.010774115758855396</c:v>
                </c:pt>
                <c:pt idx="4">
                  <c:v>0.0038226859737547428</c:v>
                </c:pt>
                <c:pt idx="5">
                  <c:v>-0.002870022864424903</c:v>
                </c:pt>
                <c:pt idx="6">
                  <c:v>0.018638204747059437</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3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5141424807476968</c:v>
                </c:pt>
                <c:pt idx="1">
                  <c:v>0.30270149766918647</c:v>
                </c:pt>
                <c:pt idx="2">
                  <c:v>0.0691320195613135</c:v>
                </c:pt>
                <c:pt idx="3">
                  <c:v>0.027078447437878853</c:v>
                </c:pt>
                <c:pt idx="4">
                  <c:v>0.013750855203300237</c:v>
                </c:pt>
                <c:pt idx="5">
                  <c:v>0.0731946993806241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7</c:f>
              <c:numCache>
                <c:formatCode>General</c:formatCode>
                <c:ptCount val="6"/>
                <c:pt idx="0">
                  <c:v>0.011659940380532308</c:v>
                </c:pt>
                <c:pt idx="1">
                  <c:v>-0.02715831843360872</c:v>
                </c:pt>
                <c:pt idx="2">
                  <c:v>0.011139961963213596</c:v>
                </c:pt>
                <c:pt idx="3">
                  <c:v>-0.003916327666269988</c:v>
                </c:pt>
                <c:pt idx="4">
                  <c:v>-0.0008596570634242517</c:v>
                </c:pt>
                <c:pt idx="5">
                  <c:v>0.009134400819557117</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5141424807476968</c:v>
                </c:pt>
                <c:pt idx="1">
                  <c:v>0.20662404498031436</c:v>
                </c:pt>
                <c:pt idx="2">
                  <c:v>0.09381987803679426</c:v>
                </c:pt>
                <c:pt idx="3">
                  <c:v>0.06873221084974702</c:v>
                </c:pt>
                <c:pt idx="4">
                  <c:v>0.027078447437878853</c:v>
                </c:pt>
                <c:pt idx="5">
                  <c:v>0.013750855203300237</c:v>
                </c:pt>
                <c:pt idx="6">
                  <c:v>0.07585208274426847</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3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7</c:f>
              <c:numCache>
                <c:formatCode>General</c:formatCode>
                <c:ptCount val="6"/>
                <c:pt idx="0">
                  <c:v>-0.025242361173256844</c:v>
                </c:pt>
                <c:pt idx="1">
                  <c:v>0.005602064791268069</c:v>
                </c:pt>
                <c:pt idx="2">
                  <c:v>-0.005351894749810779</c:v>
                </c:pt>
                <c:pt idx="3">
                  <c:v>0.00711751527361322</c:v>
                </c:pt>
                <c:pt idx="4">
                  <c:v>-0.006434663890920213</c:v>
                </c:pt>
                <c:pt idx="5">
                  <c:v>0.0315289779652876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 P3M</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32411695020091463</c:v>
                </c:pt>
                <c:pt idx="1">
                  <c:v>0.19568224634902226</c:v>
                </c:pt>
                <c:pt idx="2">
                  <c:v>0.16866891113485127</c:v>
                </c:pt>
                <c:pt idx="3">
                  <c:v>0.14350672688995303</c:v>
                </c:pt>
                <c:pt idx="4">
                  <c:v>0.0459007482323065</c:v>
                </c:pt>
                <c:pt idx="5">
                  <c:v>0.021074141933695088</c:v>
                </c:pt>
                <c:pt idx="6">
                  <c:v>0.020229464219249847</c:v>
                </c:pt>
                <c:pt idx="7">
                  <c:v>0.08082081104000738</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8</c:f>
              <c:numCache>
                <c:formatCode>General</c:formatCode>
                <c:ptCount val="7"/>
                <c:pt idx="0">
                  <c:v>-0.025242361173256844</c:v>
                </c:pt>
                <c:pt idx="1">
                  <c:v>0.01596333392349658</c:v>
                </c:pt>
                <c:pt idx="2">
                  <c:v>-0.010164397001381928</c:v>
                </c:pt>
                <c:pt idx="3">
                  <c:v>-0.005751703461377253</c:v>
                </c:pt>
                <c:pt idx="4">
                  <c:v>0.007213954839699308</c:v>
                </c:pt>
                <c:pt idx="5">
                  <c:v>-0.006434663890920213</c:v>
                </c:pt>
                <c:pt idx="6">
                  <c:v>0.03173191454600748</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Total Fromage | Carrefour</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33629726605717514</c:v>
                </c:pt>
                <c:pt idx="1">
                  <c:v>0.17132212320628</c:v>
                </c:pt>
                <c:pt idx="2">
                  <c:v>0.13278442079834468</c:v>
                </c:pt>
                <c:pt idx="3">
                  <c:v>0.12925576415038473</c:v>
                </c:pt>
                <c:pt idx="4">
                  <c:v>0.038386901852451236</c:v>
                </c:pt>
                <c:pt idx="5">
                  <c:v>0.03414761200970014</c:v>
                </c:pt>
                <c:pt idx="6">
                  <c:v>0.02140043766604543</c:v>
                </c:pt>
                <c:pt idx="7">
                  <c:v>0.136405474259618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Total Fromage | Intermarch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32411695020091463</c:v>
                </c:pt>
                <c:pt idx="1">
                  <c:v>0.19568224634902226</c:v>
                </c:pt>
                <c:pt idx="2">
                  <c:v>0.16866891113485127</c:v>
                </c:pt>
                <c:pt idx="3">
                  <c:v>0.14350672688995303</c:v>
                </c:pt>
                <c:pt idx="4">
                  <c:v>0.0459007482323065</c:v>
                </c:pt>
                <c:pt idx="5">
                  <c:v>0.021074141933695088</c:v>
                </c:pt>
                <c:pt idx="6">
                  <c:v>0.020229464219249847</c:v>
                </c:pt>
                <c:pt idx="7">
                  <c:v>0.08082081104000738</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Soft Cheese | Carrefour</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3510622705597641</c:v>
                </c:pt>
                <c:pt idx="1">
                  <c:v>0.17048175556519352</c:v>
                </c:pt>
                <c:pt idx="2">
                  <c:v>0.13467894766909008</c:v>
                </c:pt>
                <c:pt idx="3">
                  <c:v>0.10621316177435423</c:v>
                </c:pt>
                <c:pt idx="4">
                  <c:v>0.04033220960500284</c:v>
                </c:pt>
                <c:pt idx="5">
                  <c:v>0.035878088061894284</c:v>
                </c:pt>
                <c:pt idx="6">
                  <c:v>0.022484933556330394</c:v>
                </c:pt>
                <c:pt idx="7">
                  <c:v>0.010432810658359121</c:v>
                </c:pt>
                <c:pt idx="8">
                  <c:v>0.1284358225500114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Soft Cheese | Intermarch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33901421369950807</c:v>
                </c:pt>
                <c:pt idx="1">
                  <c:v>0.19377803228047322</c:v>
                </c:pt>
                <c:pt idx="2">
                  <c:v>0.17883242135276337</c:v>
                </c:pt>
                <c:pt idx="3">
                  <c:v>0.11143534980658593</c:v>
                </c:pt>
                <c:pt idx="4">
                  <c:v>0.048667032603189775</c:v>
                </c:pt>
                <c:pt idx="5">
                  <c:v>0.022344209889143474</c:v>
                </c:pt>
                <c:pt idx="6">
                  <c:v>0.021448626277738178</c:v>
                </c:pt>
                <c:pt idx="7">
                  <c:v>0.084480114090598</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peritif | Carrefour</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6933308746636515</c:v>
                </c:pt>
                <c:pt idx="1">
                  <c:v>0.20235702310098097</c:v>
                </c:pt>
                <c:pt idx="2">
                  <c:v>0.049042210667553085</c:v>
                </c:pt>
                <c:pt idx="3">
                  <c:v>0.02427066071086287</c:v>
                </c:pt>
                <c:pt idx="4">
                  <c:v>0.03099923085695152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peritif | Intermarch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6937706821491997</c:v>
                </c:pt>
                <c:pt idx="1">
                  <c:v>0.22447017612998366</c:v>
                </c:pt>
                <c:pt idx="2">
                  <c:v>0.07348363680211986</c:v>
                </c:pt>
                <c:pt idx="3">
                  <c:v>0.00827550491869683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Enfant | Carrefour</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7829967728451062</c:v>
                </c:pt>
                <c:pt idx="1">
                  <c:v>0.10358334814043174</c:v>
                </c:pt>
                <c:pt idx="2">
                  <c:v>0.09572537917922513</c:v>
                </c:pt>
                <c:pt idx="3">
                  <c:v>0.017640743555211277</c:v>
                </c:pt>
                <c:pt idx="4">
                  <c:v>5.3756280025725276e-0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Enfant | Intermarch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7653687708117598</c:v>
                </c:pt>
                <c:pt idx="1">
                  <c:v>0.1258307547492551</c:v>
                </c:pt>
                <c:pt idx="2">
                  <c:v>0.0863831811789481</c:v>
                </c:pt>
                <c:pt idx="3">
                  <c:v>0.02241606414349526</c:v>
                </c:pt>
                <c:pt idx="4">
                  <c:v>1.229116541757698e-0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Frais A Tartiner | Carrefour</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4884751483121521</c:v>
                </c:pt>
                <c:pt idx="1">
                  <c:v>0.16213784063548314</c:v>
                </c:pt>
                <c:pt idx="2">
                  <c:v>0.12966800019878572</c:v>
                </c:pt>
                <c:pt idx="3">
                  <c:v>0.11270341231064868</c:v>
                </c:pt>
                <c:pt idx="4">
                  <c:v>0.07082597692426837</c:v>
                </c:pt>
                <c:pt idx="5">
                  <c:v>0.02045274459494004</c:v>
                </c:pt>
                <c:pt idx="6">
                  <c:v>0.0157368770237219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Share DYA LY</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9</c:f>
              <c:numCache>
                <c:formatCode>General</c:formatCode>
                <c:ptCount val="8"/>
                <c:pt idx="0">
                  <c:v>0.01127451321068701</c:v>
                </c:pt>
                <c:pt idx="1">
                  <c:v>-0.01864493393562905</c:v>
                </c:pt>
                <c:pt idx="2">
                  <c:v>0.0009315507183261795</c:v>
                </c:pt>
                <c:pt idx="3">
                  <c:v>0.003733269088380814</c:v>
                </c:pt>
                <c:pt idx="4">
                  <c:v>-0.0044791732422434505</c:v>
                </c:pt>
                <c:pt idx="5">
                  <c:v>0.0024375210230334742</c:v>
                </c:pt>
                <c:pt idx="6">
                  <c:v>0.004592434762551424</c:v>
                </c:pt>
                <c:pt idx="7">
                  <c:v>0.00015481837489359916</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Frais A Tartiner | Intermarch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5327641343980166</c:v>
                </c:pt>
                <c:pt idx="1">
                  <c:v>0.1429643255150754</c:v>
                </c:pt>
                <c:pt idx="2">
                  <c:v>0.14290204190012662</c:v>
                </c:pt>
                <c:pt idx="3">
                  <c:v>0.14154369181989615</c:v>
                </c:pt>
                <c:pt idx="4">
                  <c:v>0.03541112975172889</c:v>
                </c:pt>
                <c:pt idx="5">
                  <c:v>0.00441467661515634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Salade | Carrefour</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5237334716855074</c:v>
                </c:pt>
                <c:pt idx="1">
                  <c:v>0.18613857317233173</c:v>
                </c:pt>
                <c:pt idx="2">
                  <c:v>0.09968495112324784</c:v>
                </c:pt>
                <c:pt idx="3">
                  <c:v>0.024235701196868683</c:v>
                </c:pt>
                <c:pt idx="4">
                  <c:v>0.016144620862610648</c:v>
                </c:pt>
                <c:pt idx="5">
                  <c:v>0.1500626819594336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Salade | Intermarch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5141424807476968</c:v>
                </c:pt>
                <c:pt idx="1">
                  <c:v>0.30270149766918647</c:v>
                </c:pt>
                <c:pt idx="2">
                  <c:v>0.0691320195613135</c:v>
                </c:pt>
                <c:pt idx="3">
                  <c:v>0.027078447437878853</c:v>
                </c:pt>
                <c:pt idx="4">
                  <c:v>0.013750855203300237</c:v>
                </c:pt>
                <c:pt idx="5">
                  <c:v>0.0731946993806241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Total Fromage | Carrefour</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3629726605717514</c:v>
                </c:pt>
                <c:pt idx="1">
                  <c:v>0.039901864727342154</c:v>
                </c:pt>
                <c:pt idx="2">
                  <c:v>0.03929497366740148</c:v>
                </c:pt>
                <c:pt idx="3">
                  <c:v>0.03717734044954222</c:v>
                </c:pt>
                <c:pt idx="4">
                  <c:v>0.03686494305339173</c:v>
                </c:pt>
                <c:pt idx="5">
                  <c:v>0.03572310614263331</c:v>
                </c:pt>
                <c:pt idx="6">
                  <c:v>0.028915068219525632</c:v>
                </c:pt>
                <c:pt idx="7">
                  <c:v>0.02501410916196438</c:v>
                </c:pt>
                <c:pt idx="8">
                  <c:v>0.023146682105111414</c:v>
                </c:pt>
                <c:pt idx="9">
                  <c:v>0.397664646415912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Total Fromage | Intermarch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2411695020091463</c:v>
                </c:pt>
                <c:pt idx="1">
                  <c:v>0.06298708584619583</c:v>
                </c:pt>
                <c:pt idx="2">
                  <c:v>0.05361049601215225</c:v>
                </c:pt>
                <c:pt idx="3">
                  <c:v>0.05119233590219969</c:v>
                </c:pt>
                <c:pt idx="4">
                  <c:v>0.04485141976170285</c:v>
                </c:pt>
                <c:pt idx="5">
                  <c:v>0.04037269141004713</c:v>
                </c:pt>
                <c:pt idx="6">
                  <c:v>0.030719589343885016</c:v>
                </c:pt>
                <c:pt idx="7">
                  <c:v>0.02941896014636484</c:v>
                </c:pt>
                <c:pt idx="8">
                  <c:v>0.025770789111860995</c:v>
                </c:pt>
                <c:pt idx="9">
                  <c:v>0.3369596822646767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Soft Cheese | Carrefour</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510622705597641</c:v>
                </c:pt>
                <c:pt idx="1">
                  <c:v>0.0419239452561048</c:v>
                </c:pt>
                <c:pt idx="2">
                  <c:v>0.03971133301253936</c:v>
                </c:pt>
                <c:pt idx="3">
                  <c:v>0.03906135205521252</c:v>
                </c:pt>
                <c:pt idx="4">
                  <c:v>0.0387331235018891</c:v>
                </c:pt>
                <c:pt idx="5">
                  <c:v>0.03753342247375059</c:v>
                </c:pt>
                <c:pt idx="6">
                  <c:v>0.03038037809499322</c:v>
                </c:pt>
                <c:pt idx="7">
                  <c:v>0.02628173270353014</c:v>
                </c:pt>
                <c:pt idx="8">
                  <c:v>0.019492623580296922</c:v>
                </c:pt>
                <c:pt idx="9">
                  <c:v>0.375819818761919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Soft Cheese | Intermarch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3901421369950807</c:v>
                </c:pt>
                <c:pt idx="1">
                  <c:v>0.06678310656163113</c:v>
                </c:pt>
                <c:pt idx="2">
                  <c:v>0.05684142106119834</c:v>
                </c:pt>
                <c:pt idx="3">
                  <c:v>0.04962150596996838</c:v>
                </c:pt>
                <c:pt idx="4">
                  <c:v>0.04755446461994327</c:v>
                </c:pt>
                <c:pt idx="5">
                  <c:v>0.04280581831013329</c:v>
                </c:pt>
                <c:pt idx="6">
                  <c:v>0.03257095611141258</c:v>
                </c:pt>
                <c:pt idx="7">
                  <c:v>0.02732390826331078</c:v>
                </c:pt>
                <c:pt idx="8">
                  <c:v>0.024410986462631862</c:v>
                </c:pt>
                <c:pt idx="9">
                  <c:v>0.3130736189402622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peritif | Carrefour</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5932997692570855</c:v>
                </c:pt>
                <c:pt idx="1">
                  <c:v>0.16429710758540036</c:v>
                </c:pt>
                <c:pt idx="2">
                  <c:v>0.10003110540656611</c:v>
                </c:pt>
                <c:pt idx="3">
                  <c:v>0.049042210667553085</c:v>
                </c:pt>
                <c:pt idx="4">
                  <c:v>0.03391712180362832</c:v>
                </c:pt>
                <c:pt idx="5">
                  <c:v>0.012450800321244605</c:v>
                </c:pt>
                <c:pt idx="6">
                  <c:v>0.011819860389618268</c:v>
                </c:pt>
                <c:pt idx="7">
                  <c:v>0.03514202456890381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peritif | Intermarch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5761758411035977</c:v>
                </c:pt>
                <c:pt idx="1">
                  <c:v>0.1437258079183278</c:v>
                </c:pt>
                <c:pt idx="2">
                  <c:v>0.11759484104560203</c:v>
                </c:pt>
                <c:pt idx="3">
                  <c:v>0.08074436821165584</c:v>
                </c:pt>
                <c:pt idx="4">
                  <c:v>0.07348363680211986</c:v>
                </c:pt>
                <c:pt idx="5">
                  <c:v>0.00827550491869683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Enfant | Carrefour</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78751536034013</c:v>
                </c:pt>
                <c:pt idx="1">
                  <c:v>0.2757886139319489</c:v>
                </c:pt>
                <c:pt idx="2">
                  <c:v>0.22845662287914417</c:v>
                </c:pt>
                <c:pt idx="3">
                  <c:v>0.10358334814043174</c:v>
                </c:pt>
                <c:pt idx="4">
                  <c:v>0.09572537917922513</c:v>
                </c:pt>
                <c:pt idx="5">
                  <c:v>0.017640743555211277</c:v>
                </c:pt>
                <c:pt idx="6">
                  <c:v>5.3756280025725276e-0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2411695020091463</c:v>
                </c:pt>
                <c:pt idx="1">
                  <c:v>0.06298708584619583</c:v>
                </c:pt>
                <c:pt idx="2">
                  <c:v>0.05361049601215225</c:v>
                </c:pt>
                <c:pt idx="3">
                  <c:v>0.05119233590219969</c:v>
                </c:pt>
                <c:pt idx="4">
                  <c:v>0.04485141976170285</c:v>
                </c:pt>
                <c:pt idx="5">
                  <c:v>0.04037269141004713</c:v>
                </c:pt>
                <c:pt idx="6">
                  <c:v>0.030719589343885016</c:v>
                </c:pt>
                <c:pt idx="7">
                  <c:v>0.02941896014636484</c:v>
                </c:pt>
                <c:pt idx="8">
                  <c:v>0.025770789111860995</c:v>
                </c:pt>
                <c:pt idx="9">
                  <c:v>0.33695968226467676</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Enfant | Intermarch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897948502065428</c:v>
                </c:pt>
                <c:pt idx="1">
                  <c:v>0.241380359332221</c:v>
                </c:pt>
                <c:pt idx="2">
                  <c:v>0.234193561272996</c:v>
                </c:pt>
                <c:pt idx="3">
                  <c:v>0.1258307547492551</c:v>
                </c:pt>
                <c:pt idx="4">
                  <c:v>0.0863831811789481</c:v>
                </c:pt>
                <c:pt idx="5">
                  <c:v>0.02241606414349526</c:v>
                </c:pt>
                <c:pt idx="6">
                  <c:v>1.229116541757698e-0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Frais A Tartiner | Carrefour</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2970859348380675</c:v>
                </c:pt>
                <c:pt idx="1">
                  <c:v>0.16043379926377807</c:v>
                </c:pt>
                <c:pt idx="2">
                  <c:v>0.12966800019878572</c:v>
                </c:pt>
                <c:pt idx="3">
                  <c:v>0.10616482532513906</c:v>
                </c:pt>
                <c:pt idx="4">
                  <c:v>0.10235644019547083</c:v>
                </c:pt>
                <c:pt idx="5">
                  <c:v>0.07424221878310637</c:v>
                </c:pt>
                <c:pt idx="6">
                  <c:v>0.07082597692426837</c:v>
                </c:pt>
                <c:pt idx="7">
                  <c:v>0.010346095515999654</c:v>
                </c:pt>
                <c:pt idx="8">
                  <c:v>8.765991781950135e-07</c:v>
                </c:pt>
                <c:pt idx="9">
                  <c:v>0.04887583235620621</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Frais A Tartiner | Intermarch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33495661866567283</c:v>
                </c:pt>
                <c:pt idx="1">
                  <c:v>0.14290204190012662</c:v>
                </c:pt>
                <c:pt idx="2">
                  <c:v>0.1426367440068825</c:v>
                </c:pt>
                <c:pt idx="3">
                  <c:v>0.1347789063774303</c:v>
                </c:pt>
                <c:pt idx="4">
                  <c:v>0.1150146018748184</c:v>
                </c:pt>
                <c:pt idx="5">
                  <c:v>0.07201400188506042</c:v>
                </c:pt>
                <c:pt idx="6">
                  <c:v>0.03541112975172889</c:v>
                </c:pt>
                <c:pt idx="7">
                  <c:v>0.006764785442465831</c:v>
                </c:pt>
                <c:pt idx="8">
                  <c:v>0.015521170095814189</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Salade | Carrefour</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5237334716855074</c:v>
                </c:pt>
                <c:pt idx="1">
                  <c:v>0.1085288811207007</c:v>
                </c:pt>
                <c:pt idx="2">
                  <c:v>0.09396399990213104</c:v>
                </c:pt>
                <c:pt idx="3">
                  <c:v>0.07490979364952201</c:v>
                </c:pt>
                <c:pt idx="4">
                  <c:v>0.024235701196868683</c:v>
                </c:pt>
                <c:pt idx="5">
                  <c:v>0.016144620862610648</c:v>
                </c:pt>
                <c:pt idx="6">
                  <c:v>0.1584835315826594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Salade | Intermarch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5141424807476968</c:v>
                </c:pt>
                <c:pt idx="1">
                  <c:v>0.20662404498031436</c:v>
                </c:pt>
                <c:pt idx="2">
                  <c:v>0.09381987803679426</c:v>
                </c:pt>
                <c:pt idx="3">
                  <c:v>0.06873221084974702</c:v>
                </c:pt>
                <c:pt idx="4">
                  <c:v>0.027078447437878853</c:v>
                </c:pt>
                <c:pt idx="5">
                  <c:v>0.013750855203300237</c:v>
                </c:pt>
                <c:pt idx="6">
                  <c:v>0.0758520827442684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Soft Cheese | Carrefour</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0</c:f>
              <c:numCache>
                <c:formatCode>General</c:formatCode>
                <c:ptCount val="9"/>
                <c:pt idx="0">
                  <c:v>0.3510622705597641</c:v>
                </c:pt>
                <c:pt idx="1">
                  <c:v>0.17048175556519352</c:v>
                </c:pt>
                <c:pt idx="2">
                  <c:v>0.13467894766909008</c:v>
                </c:pt>
                <c:pt idx="3">
                  <c:v>0.10621316177435423</c:v>
                </c:pt>
                <c:pt idx="4">
                  <c:v>0.04033220960500284</c:v>
                </c:pt>
                <c:pt idx="5">
                  <c:v>0.035878088061894284</c:v>
                </c:pt>
                <c:pt idx="6">
                  <c:v>0.022484933556330394</c:v>
                </c:pt>
                <c:pt idx="7">
                  <c:v>0.010432810658359121</c:v>
                </c:pt>
                <c:pt idx="8">
                  <c:v>0.1284358225500114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peritif | Carrefour</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6933308746636515</c:v>
                </c:pt>
                <c:pt idx="1">
                  <c:v>0.20235702310098097</c:v>
                </c:pt>
                <c:pt idx="2">
                  <c:v>0.049042210667553085</c:v>
                </c:pt>
                <c:pt idx="3">
                  <c:v>0.02427066071086287</c:v>
                </c:pt>
                <c:pt idx="4">
                  <c:v>0.03099923085695152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Soft Cheese | Intermarch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33901421369950807</c:v>
                </c:pt>
                <c:pt idx="1">
                  <c:v>0.19377803228047322</c:v>
                </c:pt>
                <c:pt idx="2">
                  <c:v>0.17883242135276337</c:v>
                </c:pt>
                <c:pt idx="3">
                  <c:v>0.11143534980658593</c:v>
                </c:pt>
                <c:pt idx="4">
                  <c:v>0.048667032603189775</c:v>
                </c:pt>
                <c:pt idx="5">
                  <c:v>0.022344209889143474</c:v>
                </c:pt>
                <c:pt idx="6">
                  <c:v>0.021448626277738178</c:v>
                </c:pt>
                <c:pt idx="7">
                  <c:v>0.084480114090598</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peritif | Intermarch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0">
                  <c:v>0.6937706821491997</c:v>
                </c:pt>
                <c:pt idx="1">
                  <c:v>0.22447017612998366</c:v>
                </c:pt>
                <c:pt idx="2">
                  <c:v>0.07348363680211986</c:v>
                </c:pt>
                <c:pt idx="3">
                  <c:v>0.00827550491869683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Soft Cheese | Carrefour</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510622705597641</c:v>
                </c:pt>
                <c:pt idx="1">
                  <c:v>0.0419239452561048</c:v>
                </c:pt>
                <c:pt idx="2">
                  <c:v>0.03971133301253936</c:v>
                </c:pt>
                <c:pt idx="3">
                  <c:v>0.03906135205521252</c:v>
                </c:pt>
                <c:pt idx="4">
                  <c:v>0.0387331235018891</c:v>
                </c:pt>
                <c:pt idx="5">
                  <c:v>0.03753342247375059</c:v>
                </c:pt>
                <c:pt idx="6">
                  <c:v>0.03038037809499322</c:v>
                </c:pt>
                <c:pt idx="7">
                  <c:v>0.02628173270353014</c:v>
                </c:pt>
                <c:pt idx="8">
                  <c:v>0.019492623580296922</c:v>
                </c:pt>
                <c:pt idx="9">
                  <c:v>0.375819818761919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Share DYA P3M</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0.0%;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2</c:f>
              <c:strCache>
                <c:ptCount val="1"/>
                <c:pt idx="0">
                  <c:v/>
                </c:pt>
              </c:strCache>
            </c:strRef>
          </c:cat>
          <c:val>
            <c:numRef>
              <c:f>Sheet1!$B$2:$B$9</c:f>
              <c:numCache>
                <c:formatCode>General</c:formatCode>
                <c:ptCount val="8"/>
                <c:pt idx="0">
                  <c:v>-0.008048033994309645</c:v>
                </c:pt>
                <c:pt idx="1">
                  <c:v>0.008379987989741572</c:v>
                </c:pt>
                <c:pt idx="2">
                  <c:v>0.0031719345713970004</c:v>
                </c:pt>
                <c:pt idx="3">
                  <c:v>-0.012387143321955313</c:v>
                </c:pt>
                <c:pt idx="4">
                  <c:v>-0.007582186264868097</c:v>
                </c:pt>
                <c:pt idx="5">
                  <c:v>0.001795702930050866</c:v>
                </c:pt>
                <c:pt idx="6">
                  <c:v>0.005813853993073506</c:v>
                </c:pt>
                <c:pt idx="7">
                  <c:v>0.008855884096870128</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peritif | Carrefour</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9</c:f>
              <c:numCache>
                <c:formatCode>General</c:formatCode>
                <c:ptCount val="8"/>
                <c:pt idx="0">
                  <c:v>0.5932997692570855</c:v>
                </c:pt>
                <c:pt idx="1">
                  <c:v>0.16429710758540036</c:v>
                </c:pt>
                <c:pt idx="2">
                  <c:v>0.10003110540656611</c:v>
                </c:pt>
                <c:pt idx="3">
                  <c:v>0.049042210667553085</c:v>
                </c:pt>
                <c:pt idx="4">
                  <c:v>0.03391712180362832</c:v>
                </c:pt>
                <c:pt idx="5">
                  <c:v>0.012450800321244605</c:v>
                </c:pt>
                <c:pt idx="6">
                  <c:v>0.011819860389618268</c:v>
                </c:pt>
                <c:pt idx="7">
                  <c:v>0.035142024568903814</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Soft Cheese | Intermarch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1</c:f>
              <c:numCache>
                <c:formatCode>General</c:formatCode>
                <c:ptCount val="10"/>
                <c:pt idx="0">
                  <c:v>0.33901421369950807</c:v>
                </c:pt>
                <c:pt idx="1">
                  <c:v>0.06678310656163113</c:v>
                </c:pt>
                <c:pt idx="2">
                  <c:v>0.05684142106119834</c:v>
                </c:pt>
                <c:pt idx="3">
                  <c:v>0.04962150596996838</c:v>
                </c:pt>
                <c:pt idx="4">
                  <c:v>0.04755446461994327</c:v>
                </c:pt>
                <c:pt idx="5">
                  <c:v>0.04280581831013329</c:v>
                </c:pt>
                <c:pt idx="6">
                  <c:v>0.03257095611141258</c:v>
                </c:pt>
                <c:pt idx="7">
                  <c:v>0.02732390826331078</c:v>
                </c:pt>
                <c:pt idx="8">
                  <c:v>0.024410986462631862</c:v>
                </c:pt>
                <c:pt idx="9">
                  <c:v>0.3130736189402622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Aperitif | Intermarch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5761758411035977</c:v>
                </c:pt>
                <c:pt idx="1">
                  <c:v>0.1437258079183278</c:v>
                </c:pt>
                <c:pt idx="2">
                  <c:v>0.11759484104560203</c:v>
                </c:pt>
                <c:pt idx="3">
                  <c:v>0.08074436821165584</c:v>
                </c:pt>
                <c:pt idx="4">
                  <c:v>0.07348363680211986</c:v>
                </c:pt>
                <c:pt idx="5">
                  <c:v>0.00827550491869683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Enfant | Carrefour</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7829967728451062</c:v>
                </c:pt>
                <c:pt idx="1">
                  <c:v>0.10358334814043174</c:v>
                </c:pt>
                <c:pt idx="2">
                  <c:v>0.09572537917922513</c:v>
                </c:pt>
                <c:pt idx="3">
                  <c:v>0.017640743555211277</c:v>
                </c:pt>
                <c:pt idx="4">
                  <c:v>5.3756280025725276e-0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Frais A Tartiner | Carrefour</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4884751483121521</c:v>
                </c:pt>
                <c:pt idx="1">
                  <c:v>0.16213784063548314</c:v>
                </c:pt>
                <c:pt idx="2">
                  <c:v>0.12966800019878572</c:v>
                </c:pt>
                <c:pt idx="3">
                  <c:v>0.11270341231064868</c:v>
                </c:pt>
                <c:pt idx="4">
                  <c:v>0.07082597692426837</c:v>
                </c:pt>
                <c:pt idx="5">
                  <c:v>0.02045274459494004</c:v>
                </c:pt>
                <c:pt idx="6">
                  <c:v>0.0157368770237219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Salade | Carrefour</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5237334716855074</c:v>
                </c:pt>
                <c:pt idx="1">
                  <c:v>0.18613857317233173</c:v>
                </c:pt>
                <c:pt idx="2">
                  <c:v>0.09968495112324784</c:v>
                </c:pt>
                <c:pt idx="3">
                  <c:v>0.024235701196868683</c:v>
                </c:pt>
                <c:pt idx="4">
                  <c:v>0.016144620862610648</c:v>
                </c:pt>
                <c:pt idx="5">
                  <c:v>0.1500626819594336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Enfant | Intermarch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6</c:f>
              <c:numCache>
                <c:formatCode>General</c:formatCode>
                <c:ptCount val="5"/>
                <c:pt idx="0">
                  <c:v>0.7653687708117598</c:v>
                </c:pt>
                <c:pt idx="1">
                  <c:v>0.1258307547492551</c:v>
                </c:pt>
                <c:pt idx="2">
                  <c:v>0.0863831811789481</c:v>
                </c:pt>
                <c:pt idx="3">
                  <c:v>0.02241606414349526</c:v>
                </c:pt>
                <c:pt idx="4">
                  <c:v>1.229116541757698e-06</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Frais A Tartiner | Intermarch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5327641343980166</c:v>
                </c:pt>
                <c:pt idx="1">
                  <c:v>0.1429643255150754</c:v>
                </c:pt>
                <c:pt idx="2">
                  <c:v>0.14290204190012662</c:v>
                </c:pt>
                <c:pt idx="3">
                  <c:v>0.14154369181989615</c:v>
                </c:pt>
                <c:pt idx="4">
                  <c:v>0.03541112975172889</c:v>
                </c:pt>
                <c:pt idx="5">
                  <c:v>0.004414676615156343</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Salade | Intermarch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7</c:f>
              <c:numCache>
                <c:formatCode>General</c:formatCode>
                <c:ptCount val="6"/>
                <c:pt idx="0">
                  <c:v>0.5141424807476968</c:v>
                </c:pt>
                <c:pt idx="1">
                  <c:v>0.30270149766918647</c:v>
                </c:pt>
                <c:pt idx="2">
                  <c:v>0.0691320195613135</c:v>
                </c:pt>
                <c:pt idx="3">
                  <c:v>0.027078447437878853</c:v>
                </c:pt>
                <c:pt idx="4">
                  <c:v>0.013750855203300237</c:v>
                </c:pt>
                <c:pt idx="5">
                  <c:v>0.07319469938062417</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Enfant | Carrefour</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278751536034013</c:v>
                </c:pt>
                <c:pt idx="1">
                  <c:v>0.2757886139319489</c:v>
                </c:pt>
                <c:pt idx="2">
                  <c:v>0.22845662287914417</c:v>
                </c:pt>
                <c:pt idx="3">
                  <c:v>0.10358334814043174</c:v>
                </c:pt>
                <c:pt idx="4">
                  <c:v>0.09572537917922513</c:v>
                </c:pt>
                <c:pt idx="5">
                  <c:v>0.017640743555211277</c:v>
                </c:pt>
                <c:pt idx="6">
                  <c:v>5.3756280025725276e-05</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3F5F7F6-F331-41A3-992E-AA52FE44B72F}" type="datetimeFigureOut">
              <a:rPr lang="en-AE" smtClean="0"/>
              <a:t>25/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8D11946-C648-4AB1-BBAC-E03745FD1C4B}" type="slidenum">
              <a:rPr lang="en-AE" smtClean="0"/>
              <a:t>‹#›</a:t>
            </a:fld>
            <a:endParaRPr lang="en-AE"/>
          </a:p>
        </p:txBody>
      </p:sp>
    </p:spTree>
    <p:extLst>
      <p:ext uri="{BB962C8B-B14F-4D97-AF65-F5344CB8AC3E}">
        <p14:creationId xmlns:p14="http://schemas.microsoft.com/office/powerpoint/2010/main" val="14152614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xml"/></Relationships>
</file>

<file path=ppt/notesSlides/_rels/notesSlide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xml"/></Relationships>
</file>

<file path=ppt/notesSlides/_rels/notesSlide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xml"/></Relationships>
</file>

<file path=ppt/notesSlides/_rels/notesSlide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xml"/></Relationships>
</file>

<file path=ppt/notesSlides/_rels/notesSlide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xml"/></Relationships>
</file>

<file path=ppt/notesSlides/_rels/notesSlide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xml"/></Relationships>
</file>

<file path=ppt/notesSlides/_rels/notesSlide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xml"/></Relationships>
</file>

<file path=ppt/notesSlides/_rels/notesSlide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xml"/></Relationships>
</file>

<file path=ppt/notesSlides/_rels/notesSlide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7.xml"/></Relationships>
</file>

<file path=ppt/notesSlides/_rels/notesSlide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8.xml"/></Relationships>
</file>

<file path=ppt/notesSlides/_rels/notesSlide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9.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0.xml"/></Relationships>
</file>

<file path=ppt/notesSlides/_rels/notesSlide6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1.xml"/></Relationships>
</file>

<file path=ppt/notesSlides/_rels/notesSlide6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2.xml"/></Relationships>
</file>

<file path=ppt/notesSlides/_rels/notesSlide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3.xml"/></Relationships>
</file>

<file path=ppt/notesSlides/_rels/notesSlide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4.xml"/></Relationships>
</file>

<file path=ppt/notesSlides/_rels/notesSlide6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5.xml"/></Relationships>
</file>

<file path=ppt/notesSlides/_rels/notesSlide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6.xml"/></Relationships>
</file>

<file path=ppt/notesSlides/_rels/notesSlide6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7.xml"/></Relationships>
</file>

<file path=ppt/notesSlides/_rels/notesSlide6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8.xml"/></Relationships>
</file>

<file path=ppt/notesSlides/_rels/notesSlide6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9.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0.xml"/></Relationships>
</file>

<file path=ppt/notesSlides/_rels/notesSlide7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1.xml"/></Relationships>
</file>

<file path=ppt/notesSlides/_rels/notesSlide7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2.xml"/></Relationships>
</file>

<file path=ppt/notesSlides/_rels/notesSlide7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3.xml"/></Relationships>
</file>

<file path=ppt/notesSlides/_rels/notesSlide7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4.xml"/></Relationships>
</file>

<file path=ppt/notesSlides/_rels/notesSlide7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5.xml"/></Relationships>
</file>

<file path=ppt/notesSlides/_rels/notesSlide7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6.xml"/></Relationships>
</file>

<file path=ppt/notesSlides/_rels/notesSlide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7.xml"/></Relationships>
</file>

<file path=ppt/notesSlides/_rels/notesSlide7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8.xml"/></Relationships>
</file>

<file path=ppt/notesSlides/_rels/notesSlide7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9.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8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0.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41085331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AD88733-A950-4FD9-BB22-12C5F40A2B17}" type="datetime1">
              <a:rPr lang="en-US" smtClean="0"/>
              <a:t>9/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22955324"/>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D0D826C-3918-43B8-8876-8BF4AD49A296}" type="datetime1">
              <a:rPr lang="en-US" smtClean="0"/>
              <a:t>9/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40846785"/>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5BD8B8-06BA-4B5F-9200-6DA7BF53AEE1}" type="datetime1">
              <a:rPr lang="en-US" smtClean="0"/>
              <a:t>9/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168573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8DDD3F4-0D6F-47E6-8593-EBB56382158D}" type="datetime1">
              <a:rPr lang="en-US" smtClean="0"/>
              <a:t>9/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21797046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481EDE10-9189-495B-88A9-03D561B73E49}" type="datetime1">
              <a:rPr lang="en-US" smtClean="0"/>
              <a:t>9/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8665631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5B921D7A-97AA-4985-8FE0-49BBE088E6BB}" type="datetime1">
              <a:rPr lang="en-US" smtClean="0"/>
              <a:t>9/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5089182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24D81D-141B-465B-A842-D04818E8D5FB}" type="datetime1">
              <a:rPr lang="en-US" smtClean="0"/>
              <a:t>9/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777613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59209FE-0AC8-4D18-96D5-6E9638B202A2}" type="datetime1">
              <a:rPr lang="en-US" smtClean="0"/>
              <a:t>9/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2441942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E02F045-F5C7-4498-9217-73B05A860CC1}" type="datetime1">
              <a:rPr lang="en-US" smtClean="0"/>
              <a:t>9/25/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223607700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E611D128-3D56-4D12-9102-5B8046DC7D49}" type="datetime1">
              <a:rPr lang="en-US" smtClean="0"/>
              <a:t>9/25/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41299522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5E5FBACC-2EC0-48A4-B2D8-745D4C1642BC}" type="datetime1">
              <a:rPr lang="en-US" smtClean="0"/>
              <a:t>9/25/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73821397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A24546CE-4E0A-4030-9BD9-0990FFC57DC8}" type="datetime1">
              <a:rPr lang="en-US" smtClean="0"/>
              <a:t>9/25/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56369138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51329A59-9E64-4DFE-A7D9-256D04649A61}" type="datetime1">
              <a:rPr lang="en-US" smtClean="0"/>
              <a:t>9/25/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473666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6F0DC129-0048-45FE-BBD5-D4D0DE1EF9FA}" type="datetime1">
              <a:rPr lang="en-US" smtClean="0"/>
              <a:t>9/25/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0476795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835644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8BAF3DA6-6EB4-4243-982C-859B2894A60B}" type="datetime1">
              <a:rPr lang="en-US" smtClean="0"/>
              <a:t>9/25/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21197683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F489141C-F318-4CF0-BFCD-4EC149E8EA4C}" type="datetime1">
              <a:rPr lang="en-US" smtClean="0"/>
              <a:t>9/25/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40837398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B186165-B559-4ABC-B6D8-592E97CC6A4B}" type="datetime1">
              <a:rPr lang="en-US" smtClean="0"/>
              <a:t>9/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7178134"/>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3E2A59C-2832-41BC-9A21-812AF13E17D3}" type="datetime1">
              <a:rPr lang="en-US" smtClean="0"/>
              <a:t>9/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00747644"/>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1B8321AA-2433-4167-A1F9-283E2C3DC3B6}" type="datetime1">
              <a:rPr lang="en-US" smtClean="0"/>
              <a:t>9/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46938089"/>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1BEBE96-9371-4025-9EF2-371CDB24436C}" type="datetime1">
              <a:rPr lang="en-US" smtClean="0"/>
              <a:t>9/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94384708"/>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2FA37B67-A761-4DFE-B797-71C96E477701}" type="datetime1">
              <a:rPr lang="en-US" smtClean="0"/>
              <a:t>9/25/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5112145"/>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CA15C64-AED6-4E75-9F70-581FD82EDF9D}" type="datetime1">
              <a:rPr lang="en-US" smtClean="0"/>
              <a:t>9/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94785864"/>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2AA3EA54-D3AC-4F40-B6D1-EC9E733A9166}" type="datetime1">
              <a:rPr lang="en-US" smtClean="0"/>
              <a:t>9/25/2025</a:t>
            </a:fld>
            <a:endParaRPr lang="en-US"/>
          </a:p>
        </p:txBody>
      </p:sp>
    </p:spTree>
    <p:extLst>
      <p:ext uri="{BB962C8B-B14F-4D97-AF65-F5344CB8AC3E}">
        <p14:creationId xmlns:p14="http://schemas.microsoft.com/office/powerpoint/2010/main" val="2146226508"/>
      </p:ext>
    </p:extLst>
  </p:cSld>
  <p:clrMap bg1="lt1" tx1="dk1" bg2="lt2" tx2="dk2" accent1="accent1" accent2="accent2" accent3="accent3" accent4="accent4" accent5="accent5" accent6="accent6" hlink="hlink" folHlink="folHlink"/>
  <p:sldLayoutIdLst>
    <p:sldLayoutId id="2147483843"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 id="2147483857" r:id="rId12"/>
    <p:sldLayoutId id="2147483858" r:id="rId13"/>
    <p:sldLayoutId id="2147483859" r:id="rId14"/>
    <p:sldLayoutId id="2147483860" r:id="rId15"/>
    <p:sldLayoutId id="2147483861" r:id="rId16"/>
    <p:sldLayoutId id="2147483862" r:id="rId17"/>
    <p:sldLayoutId id="2147483863" r:id="rId18"/>
    <p:sldLayoutId id="2147483864" r:id="rId19"/>
    <p:sldLayoutId id="2147483865" r:id="rId20"/>
    <p:sldLayoutId id="2147483866" r:id="rId21"/>
    <p:sldLayoutId id="2147483867" r:id="rId22"/>
    <p:sldLayoutId id="2147483902" r:id="rId23"/>
    <p:sldLayoutId id="2147483903"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xml"/><Relationship Id="rId3" Type="http://schemas.openxmlformats.org/officeDocument/2006/relationships/chart" Target="../charts/chart1.xml"/><Relationship Id="rId4" Type="http://schemas.openxmlformats.org/officeDocument/2006/relationships/chart" Target="../charts/chart2.xml"/><Relationship Id="rId5" Type="http://schemas.openxmlformats.org/officeDocument/2006/relationships/chart" Target="../charts/chart3.xml"/><Relationship Id="rId6" Type="http://schemas.openxmlformats.org/officeDocument/2006/relationships/chart" Target="../charts/chart4.xml"/><Relationship Id="rId7" Type="http://schemas.openxmlformats.org/officeDocument/2006/relationships/chart" Target="../charts/chart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0.xml"/><Relationship Id="rId3" Type="http://schemas.openxmlformats.org/officeDocument/2006/relationships/chart" Target="../charts/chart46.xml"/><Relationship Id="rId4" Type="http://schemas.openxmlformats.org/officeDocument/2006/relationships/chart" Target="../charts/chart47.xml"/><Relationship Id="rId5" Type="http://schemas.openxmlformats.org/officeDocument/2006/relationships/chart" Target="../charts/chart48.xml"/><Relationship Id="rId6" Type="http://schemas.openxmlformats.org/officeDocument/2006/relationships/chart" Target="../charts/chart49.xml"/><Relationship Id="rId7" Type="http://schemas.openxmlformats.org/officeDocument/2006/relationships/chart" Target="../charts/chart5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1.xml"/><Relationship Id="rId3" Type="http://schemas.openxmlformats.org/officeDocument/2006/relationships/chart" Target="../charts/chart51.xml"/><Relationship Id="rId4" Type="http://schemas.openxmlformats.org/officeDocument/2006/relationships/chart" Target="../charts/chart52.xml"/><Relationship Id="rId5" Type="http://schemas.openxmlformats.org/officeDocument/2006/relationships/chart" Target="../charts/chart53.xml"/><Relationship Id="rId6" Type="http://schemas.openxmlformats.org/officeDocument/2006/relationships/chart" Target="../charts/chart54.xml"/><Relationship Id="rId7" Type="http://schemas.openxmlformats.org/officeDocument/2006/relationships/chart" Target="../charts/chart5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2.xml"/><Relationship Id="rId3" Type="http://schemas.openxmlformats.org/officeDocument/2006/relationships/chart" Target="../charts/chart56.xml"/><Relationship Id="rId4" Type="http://schemas.openxmlformats.org/officeDocument/2006/relationships/chart" Target="../charts/chart57.xml"/><Relationship Id="rId5" Type="http://schemas.openxmlformats.org/officeDocument/2006/relationships/chart" Target="../charts/chart58.xml"/><Relationship Id="rId6" Type="http://schemas.openxmlformats.org/officeDocument/2006/relationships/chart" Target="../charts/chart59.xml"/><Relationship Id="rId7" Type="http://schemas.openxmlformats.org/officeDocument/2006/relationships/chart" Target="../charts/chart6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3.xml"/><Relationship Id="rId3" Type="http://schemas.openxmlformats.org/officeDocument/2006/relationships/chart" Target="../charts/chart61.xml"/><Relationship Id="rId4" Type="http://schemas.openxmlformats.org/officeDocument/2006/relationships/chart" Target="../charts/chart6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4.xml"/><Relationship Id="rId3" Type="http://schemas.openxmlformats.org/officeDocument/2006/relationships/chart" Target="../charts/chart63.xml"/><Relationship Id="rId4" Type="http://schemas.openxmlformats.org/officeDocument/2006/relationships/chart" Target="../charts/chart6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5.xml"/><Relationship Id="rId3" Type="http://schemas.openxmlformats.org/officeDocument/2006/relationships/chart" Target="../charts/chart65.xml"/><Relationship Id="rId4" Type="http://schemas.openxmlformats.org/officeDocument/2006/relationships/chart" Target="../charts/chart6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6.xml"/><Relationship Id="rId3" Type="http://schemas.openxmlformats.org/officeDocument/2006/relationships/chart" Target="../charts/chart67.xml"/><Relationship Id="rId4" Type="http://schemas.openxmlformats.org/officeDocument/2006/relationships/chart" Target="../charts/chart6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7.xml"/><Relationship Id="rId3" Type="http://schemas.openxmlformats.org/officeDocument/2006/relationships/chart" Target="../charts/chart69.xml"/><Relationship Id="rId4" Type="http://schemas.openxmlformats.org/officeDocument/2006/relationships/chart" Target="../charts/chart7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8.xml"/><Relationship Id="rId3" Type="http://schemas.openxmlformats.org/officeDocument/2006/relationships/chart" Target="../charts/chart71.xml"/><Relationship Id="rId4" Type="http://schemas.openxmlformats.org/officeDocument/2006/relationships/chart" Target="../charts/chart7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9.xml"/><Relationship Id="rId3" Type="http://schemas.openxmlformats.org/officeDocument/2006/relationships/chart" Target="../charts/chart73.xml"/><Relationship Id="rId4" Type="http://schemas.openxmlformats.org/officeDocument/2006/relationships/chart" Target="../charts/chart7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xml"/><Relationship Id="rId3" Type="http://schemas.openxmlformats.org/officeDocument/2006/relationships/chart" Target="../charts/chart6.xml"/><Relationship Id="rId4" Type="http://schemas.openxmlformats.org/officeDocument/2006/relationships/chart" Target="../charts/chart7.xml"/><Relationship Id="rId5" Type="http://schemas.openxmlformats.org/officeDocument/2006/relationships/chart" Target="../charts/chart8.xml"/><Relationship Id="rId6" Type="http://schemas.openxmlformats.org/officeDocument/2006/relationships/chart" Target="../charts/chart9.xml"/><Relationship Id="rId7" Type="http://schemas.openxmlformats.org/officeDocument/2006/relationships/chart" Target="../charts/chart10.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0.xml"/><Relationship Id="rId3" Type="http://schemas.openxmlformats.org/officeDocument/2006/relationships/chart" Target="../charts/chart75.xml"/><Relationship Id="rId4" Type="http://schemas.openxmlformats.org/officeDocument/2006/relationships/chart" Target="../charts/chart7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1.xml"/><Relationship Id="rId3" Type="http://schemas.openxmlformats.org/officeDocument/2006/relationships/chart" Target="../charts/chart77.xml"/><Relationship Id="rId4" Type="http://schemas.openxmlformats.org/officeDocument/2006/relationships/chart" Target="../charts/chart7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2.xml"/><Relationship Id="rId3" Type="http://schemas.openxmlformats.org/officeDocument/2006/relationships/chart" Target="../charts/chart79.xml"/><Relationship Id="rId4" Type="http://schemas.openxmlformats.org/officeDocument/2006/relationships/chart" Target="../charts/chart80.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3.xml"/><Relationship Id="rId3" Type="http://schemas.openxmlformats.org/officeDocument/2006/relationships/chart" Target="../charts/chart81.xml"/><Relationship Id="rId4" Type="http://schemas.openxmlformats.org/officeDocument/2006/relationships/chart" Target="../charts/chart8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4.xml"/><Relationship Id="rId3" Type="http://schemas.openxmlformats.org/officeDocument/2006/relationships/chart" Target="../charts/chart83.xml"/><Relationship Id="rId4" Type="http://schemas.openxmlformats.org/officeDocument/2006/relationships/chart" Target="../charts/chart8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5.xml"/><Relationship Id="rId3" Type="http://schemas.openxmlformats.org/officeDocument/2006/relationships/chart" Target="../charts/chart85.xml"/><Relationship Id="rId4" Type="http://schemas.openxmlformats.org/officeDocument/2006/relationships/chart" Target="../charts/chart8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6.xml"/><Relationship Id="rId3" Type="http://schemas.openxmlformats.org/officeDocument/2006/relationships/chart" Target="../charts/chart87.xml"/><Relationship Id="rId4" Type="http://schemas.openxmlformats.org/officeDocument/2006/relationships/chart" Target="../charts/chart88.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7.xml"/><Relationship Id="rId3" Type="http://schemas.openxmlformats.org/officeDocument/2006/relationships/chart" Target="../charts/chart89.xml"/><Relationship Id="rId4" Type="http://schemas.openxmlformats.org/officeDocument/2006/relationships/chart" Target="../charts/chart90.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8.xml"/><Relationship Id="rId3" Type="http://schemas.openxmlformats.org/officeDocument/2006/relationships/chart" Target="../charts/chart91.xml"/><Relationship Id="rId4" Type="http://schemas.openxmlformats.org/officeDocument/2006/relationships/chart" Target="../charts/chart9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9.xml"/><Relationship Id="rId3" Type="http://schemas.openxmlformats.org/officeDocument/2006/relationships/chart" Target="../charts/chart93.xml"/><Relationship Id="rId4" Type="http://schemas.openxmlformats.org/officeDocument/2006/relationships/chart" Target="../charts/chart94.xml"/><Relationship Id="rId5" Type="http://schemas.openxmlformats.org/officeDocument/2006/relationships/chart" Target="../charts/chart9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xml"/><Relationship Id="rId3" Type="http://schemas.openxmlformats.org/officeDocument/2006/relationships/chart" Target="../charts/chart11.xml"/><Relationship Id="rId4" Type="http://schemas.openxmlformats.org/officeDocument/2006/relationships/chart" Target="../charts/chart12.xml"/><Relationship Id="rId5" Type="http://schemas.openxmlformats.org/officeDocument/2006/relationships/chart" Target="../charts/chart13.xml"/><Relationship Id="rId6" Type="http://schemas.openxmlformats.org/officeDocument/2006/relationships/chart" Target="../charts/chart14.xml"/><Relationship Id="rId7" Type="http://schemas.openxmlformats.org/officeDocument/2006/relationships/chart" Target="../charts/chart15.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0.xml"/><Relationship Id="rId3" Type="http://schemas.openxmlformats.org/officeDocument/2006/relationships/chart" Target="../charts/chart96.xml"/><Relationship Id="rId4" Type="http://schemas.openxmlformats.org/officeDocument/2006/relationships/chart" Target="../charts/chart97.xml"/><Relationship Id="rId5" Type="http://schemas.openxmlformats.org/officeDocument/2006/relationships/chart" Target="../charts/chart98.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1.xml"/><Relationship Id="rId3" Type="http://schemas.openxmlformats.org/officeDocument/2006/relationships/chart" Target="../charts/chart99.xml"/><Relationship Id="rId4" Type="http://schemas.openxmlformats.org/officeDocument/2006/relationships/chart" Target="../charts/chart100.xml"/><Relationship Id="rId5" Type="http://schemas.openxmlformats.org/officeDocument/2006/relationships/chart" Target="../charts/chart10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2.xml"/><Relationship Id="rId3" Type="http://schemas.openxmlformats.org/officeDocument/2006/relationships/chart" Target="../charts/chart102.xml"/><Relationship Id="rId4" Type="http://schemas.openxmlformats.org/officeDocument/2006/relationships/chart" Target="../charts/chart103.xml"/><Relationship Id="rId5" Type="http://schemas.openxmlformats.org/officeDocument/2006/relationships/chart" Target="../charts/chart104.xml"/></Relationships>
</file>

<file path=ppt/slides/_rels/slide33.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5.xml"/><Relationship Id="rId7" Type="http://schemas.openxmlformats.org/officeDocument/2006/relationships/chart" Target="../charts/chart106.xml"/></Relationships>
</file>

<file path=ppt/slides/_rels/slide34.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7.xml"/><Relationship Id="rId7" Type="http://schemas.openxmlformats.org/officeDocument/2006/relationships/chart" Target="../charts/chart108.xml"/></Relationships>
</file>

<file path=ppt/slides/_rels/slide35.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9.xml"/><Relationship Id="rId7" Type="http://schemas.openxmlformats.org/officeDocument/2006/relationships/chart" Target="../charts/chart110.xml"/></Relationships>
</file>

<file path=ppt/slides/_rels/slide36.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3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1.xml"/><Relationship Id="rId7" Type="http://schemas.openxmlformats.org/officeDocument/2006/relationships/chart" Target="../charts/chart112.xml"/></Relationships>
</file>

<file path=ppt/slides/_rels/slide37.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3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3.xml"/><Relationship Id="rId7" Type="http://schemas.openxmlformats.org/officeDocument/2006/relationships/chart" Target="../charts/chart114.xml"/></Relationships>
</file>

<file path=ppt/slides/_rels/slide38.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3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5.xml"/><Relationship Id="rId7" Type="http://schemas.openxmlformats.org/officeDocument/2006/relationships/chart" Target="../charts/chart116.xml"/></Relationships>
</file>

<file path=ppt/slides/_rels/slide39.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3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7.xml"/><Relationship Id="rId7" Type="http://schemas.openxmlformats.org/officeDocument/2006/relationships/chart" Target="../charts/chart11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xml"/><Relationship Id="rId3" Type="http://schemas.openxmlformats.org/officeDocument/2006/relationships/chart" Target="../charts/chart16.xml"/><Relationship Id="rId4" Type="http://schemas.openxmlformats.org/officeDocument/2006/relationships/chart" Target="../charts/chart17.xml"/><Relationship Id="rId5" Type="http://schemas.openxmlformats.org/officeDocument/2006/relationships/chart" Target="../charts/chart18.xml"/><Relationship Id="rId6" Type="http://schemas.openxmlformats.org/officeDocument/2006/relationships/chart" Target="../charts/chart19.xml"/><Relationship Id="rId7" Type="http://schemas.openxmlformats.org/officeDocument/2006/relationships/chart" Target="../charts/chart20.xml"/></Relationships>
</file>

<file path=ppt/slides/_rels/slide40.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4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9.xml"/><Relationship Id="rId7" Type="http://schemas.openxmlformats.org/officeDocument/2006/relationships/chart" Target="../charts/chart120.xml"/></Relationships>
</file>

<file path=ppt/slides/_rels/slide41.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4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1.xml"/><Relationship Id="rId7" Type="http://schemas.openxmlformats.org/officeDocument/2006/relationships/chart" Target="../charts/chart122.xml"/></Relationships>
</file>

<file path=ppt/slides/_rels/slide42.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4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3.xml"/><Relationship Id="rId7" Type="http://schemas.openxmlformats.org/officeDocument/2006/relationships/chart" Target="../charts/chart124.xml"/></Relationships>
</file>

<file path=ppt/slides/_rels/slide43.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4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5.xml"/><Relationship Id="rId7" Type="http://schemas.openxmlformats.org/officeDocument/2006/relationships/chart" Target="../charts/chart126.xml"/></Relationships>
</file>

<file path=ppt/slides/_rels/slide44.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4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7.xml"/><Relationship Id="rId7" Type="http://schemas.openxmlformats.org/officeDocument/2006/relationships/chart" Target="../charts/chart128.xml"/></Relationships>
</file>

<file path=ppt/slides/_rels/slide45.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4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9.xml"/><Relationship Id="rId7" Type="http://schemas.openxmlformats.org/officeDocument/2006/relationships/chart" Target="../charts/chart130.xml"/></Relationships>
</file>

<file path=ppt/slides/_rels/slide46.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4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1.xml"/><Relationship Id="rId7" Type="http://schemas.openxmlformats.org/officeDocument/2006/relationships/chart" Target="../charts/chart132.xml"/></Relationships>
</file>

<file path=ppt/slides/_rels/slide47.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4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3.xml"/><Relationship Id="rId7" Type="http://schemas.openxmlformats.org/officeDocument/2006/relationships/chart" Target="../charts/chart134.xml"/></Relationships>
</file>

<file path=ppt/slides/_rels/slide48.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4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5.xml"/><Relationship Id="rId7" Type="http://schemas.openxmlformats.org/officeDocument/2006/relationships/chart" Target="../charts/chart136.xml"/></Relationships>
</file>

<file path=ppt/slides/_rels/slide49.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4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7.xml"/><Relationship Id="rId7" Type="http://schemas.openxmlformats.org/officeDocument/2006/relationships/chart" Target="../charts/chart138.xml"/><Relationship Id="rId8" Type="http://schemas.openxmlformats.org/officeDocument/2006/relationships/chart" Target="../charts/chart139.xml"/><Relationship Id="rId9" Type="http://schemas.openxmlformats.org/officeDocument/2006/relationships/chart" Target="../charts/chart140.xml"/><Relationship Id="rId10" Type="http://schemas.openxmlformats.org/officeDocument/2006/relationships/chart" Target="../charts/chart141.xml"/><Relationship Id="rId11" Type="http://schemas.openxmlformats.org/officeDocument/2006/relationships/chart" Target="../charts/chart14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xml"/><Relationship Id="rId3" Type="http://schemas.openxmlformats.org/officeDocument/2006/relationships/chart" Target="../charts/chart21.xml"/><Relationship Id="rId4" Type="http://schemas.openxmlformats.org/officeDocument/2006/relationships/chart" Target="../charts/chart22.xml"/><Relationship Id="rId5" Type="http://schemas.openxmlformats.org/officeDocument/2006/relationships/chart" Target="../charts/chart23.xml"/><Relationship Id="rId6" Type="http://schemas.openxmlformats.org/officeDocument/2006/relationships/chart" Target="../charts/chart24.xml"/><Relationship Id="rId7" Type="http://schemas.openxmlformats.org/officeDocument/2006/relationships/chart" Target="../charts/chart25.xml"/></Relationships>
</file>

<file path=ppt/slides/_rels/slide50.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5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3.xml"/><Relationship Id="rId7" Type="http://schemas.openxmlformats.org/officeDocument/2006/relationships/chart" Target="../charts/chart144.xml"/><Relationship Id="rId8" Type="http://schemas.openxmlformats.org/officeDocument/2006/relationships/chart" Target="../charts/chart145.xml"/><Relationship Id="rId9" Type="http://schemas.openxmlformats.org/officeDocument/2006/relationships/chart" Target="../charts/chart146.xml"/><Relationship Id="rId10" Type="http://schemas.openxmlformats.org/officeDocument/2006/relationships/chart" Target="../charts/chart147.xml"/><Relationship Id="rId11" Type="http://schemas.openxmlformats.org/officeDocument/2006/relationships/chart" Target="../charts/chart148.xml"/></Relationships>
</file>

<file path=ppt/slides/_rels/slide51.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5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9.xml"/><Relationship Id="rId7" Type="http://schemas.openxmlformats.org/officeDocument/2006/relationships/chart" Target="../charts/chart150.xml"/><Relationship Id="rId8" Type="http://schemas.openxmlformats.org/officeDocument/2006/relationships/chart" Target="../charts/chart151.xml"/><Relationship Id="rId9" Type="http://schemas.openxmlformats.org/officeDocument/2006/relationships/chart" Target="../charts/chart152.xml"/><Relationship Id="rId10" Type="http://schemas.openxmlformats.org/officeDocument/2006/relationships/chart" Target="../charts/chart153.xml"/><Relationship Id="rId11" Type="http://schemas.openxmlformats.org/officeDocument/2006/relationships/chart" Target="../charts/chart154.xml"/></Relationships>
</file>

<file path=ppt/slides/_rels/slide52.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5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5.xml"/><Relationship Id="rId7" Type="http://schemas.openxmlformats.org/officeDocument/2006/relationships/chart" Target="../charts/chart156.xml"/><Relationship Id="rId8" Type="http://schemas.openxmlformats.org/officeDocument/2006/relationships/chart" Target="../charts/chart157.xml"/><Relationship Id="rId9" Type="http://schemas.openxmlformats.org/officeDocument/2006/relationships/chart" Target="../charts/chart158.xml"/><Relationship Id="rId10" Type="http://schemas.openxmlformats.org/officeDocument/2006/relationships/chart" Target="../charts/chart159.xml"/><Relationship Id="rId11" Type="http://schemas.openxmlformats.org/officeDocument/2006/relationships/chart" Target="../charts/chart160.xml"/></Relationships>
</file>

<file path=ppt/slides/_rels/slide53.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5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1.xml"/><Relationship Id="rId7" Type="http://schemas.openxmlformats.org/officeDocument/2006/relationships/chart" Target="../charts/chart162.xml"/><Relationship Id="rId8" Type="http://schemas.openxmlformats.org/officeDocument/2006/relationships/chart" Target="../charts/chart163.xml"/><Relationship Id="rId9" Type="http://schemas.openxmlformats.org/officeDocument/2006/relationships/chart" Target="../charts/chart164.xml"/><Relationship Id="rId10" Type="http://schemas.openxmlformats.org/officeDocument/2006/relationships/chart" Target="../charts/chart165.xml"/><Relationship Id="rId11" Type="http://schemas.openxmlformats.org/officeDocument/2006/relationships/chart" Target="../charts/chart166.xml"/></Relationships>
</file>

<file path=ppt/slides/_rels/slide54.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5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7.xml"/><Relationship Id="rId7" Type="http://schemas.openxmlformats.org/officeDocument/2006/relationships/chart" Target="../charts/chart168.xml"/><Relationship Id="rId8" Type="http://schemas.openxmlformats.org/officeDocument/2006/relationships/chart" Target="../charts/chart169.xml"/><Relationship Id="rId9" Type="http://schemas.openxmlformats.org/officeDocument/2006/relationships/chart" Target="../charts/chart170.xml"/><Relationship Id="rId10" Type="http://schemas.openxmlformats.org/officeDocument/2006/relationships/chart" Target="../charts/chart171.xml"/><Relationship Id="rId11" Type="http://schemas.openxmlformats.org/officeDocument/2006/relationships/chart" Target="../charts/chart172.xml"/></Relationships>
</file>

<file path=ppt/slides/_rels/slide55.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5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3.xml"/><Relationship Id="rId7" Type="http://schemas.openxmlformats.org/officeDocument/2006/relationships/chart" Target="../charts/chart174.xml"/><Relationship Id="rId8" Type="http://schemas.openxmlformats.org/officeDocument/2006/relationships/chart" Target="../charts/chart175.xml"/><Relationship Id="rId9" Type="http://schemas.openxmlformats.org/officeDocument/2006/relationships/chart" Target="../charts/chart176.xml"/><Relationship Id="rId10" Type="http://schemas.openxmlformats.org/officeDocument/2006/relationships/chart" Target="../charts/chart177.xml"/><Relationship Id="rId11" Type="http://schemas.openxmlformats.org/officeDocument/2006/relationships/chart" Target="../charts/chart178.xml"/></Relationships>
</file>

<file path=ppt/slides/_rels/slide56.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5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9.xml"/><Relationship Id="rId7" Type="http://schemas.openxmlformats.org/officeDocument/2006/relationships/chart" Target="../charts/chart180.xml"/><Relationship Id="rId8" Type="http://schemas.openxmlformats.org/officeDocument/2006/relationships/chart" Target="../charts/chart181.xml"/><Relationship Id="rId9" Type="http://schemas.openxmlformats.org/officeDocument/2006/relationships/chart" Target="../charts/chart182.xml"/><Relationship Id="rId10" Type="http://schemas.openxmlformats.org/officeDocument/2006/relationships/chart" Target="../charts/chart183.xml"/><Relationship Id="rId11" Type="http://schemas.openxmlformats.org/officeDocument/2006/relationships/chart" Target="../charts/chart184.xml"/></Relationships>
</file>

<file path=ppt/slides/_rels/slide57.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5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5.xml"/><Relationship Id="rId7" Type="http://schemas.openxmlformats.org/officeDocument/2006/relationships/chart" Target="../charts/chart186.xml"/><Relationship Id="rId8" Type="http://schemas.openxmlformats.org/officeDocument/2006/relationships/chart" Target="../charts/chart187.xml"/><Relationship Id="rId9" Type="http://schemas.openxmlformats.org/officeDocument/2006/relationships/chart" Target="../charts/chart188.xml"/><Relationship Id="rId10" Type="http://schemas.openxmlformats.org/officeDocument/2006/relationships/chart" Target="../charts/chart189.xml"/><Relationship Id="rId11" Type="http://schemas.openxmlformats.org/officeDocument/2006/relationships/chart" Target="../charts/chart190.xml"/></Relationships>
</file>

<file path=ppt/slides/_rels/slide58.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5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1.xml"/><Relationship Id="rId7" Type="http://schemas.openxmlformats.org/officeDocument/2006/relationships/chart" Target="../charts/chart192.xml"/><Relationship Id="rId8" Type="http://schemas.openxmlformats.org/officeDocument/2006/relationships/chart" Target="../charts/chart193.xml"/><Relationship Id="rId9" Type="http://schemas.openxmlformats.org/officeDocument/2006/relationships/chart" Target="../charts/chart194.xml"/><Relationship Id="rId10" Type="http://schemas.openxmlformats.org/officeDocument/2006/relationships/chart" Target="../charts/chart195.xml"/><Relationship Id="rId11" Type="http://schemas.openxmlformats.org/officeDocument/2006/relationships/chart" Target="../charts/chart196.xml"/></Relationships>
</file>

<file path=ppt/slides/_rels/slide59.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5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7.xml"/><Relationship Id="rId7" Type="http://schemas.openxmlformats.org/officeDocument/2006/relationships/chart" Target="../charts/chart198.xml"/><Relationship Id="rId8" Type="http://schemas.openxmlformats.org/officeDocument/2006/relationships/chart" Target="../charts/chart199.xml"/><Relationship Id="rId9" Type="http://schemas.openxmlformats.org/officeDocument/2006/relationships/chart" Target="../charts/chart200.xml"/><Relationship Id="rId10" Type="http://schemas.openxmlformats.org/officeDocument/2006/relationships/chart" Target="../charts/chart201.xml"/><Relationship Id="rId11" Type="http://schemas.openxmlformats.org/officeDocument/2006/relationships/chart" Target="../charts/chart20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xml"/><Relationship Id="rId3" Type="http://schemas.openxmlformats.org/officeDocument/2006/relationships/chart" Target="../charts/chart26.xml"/><Relationship Id="rId4" Type="http://schemas.openxmlformats.org/officeDocument/2006/relationships/chart" Target="../charts/chart27.xml"/><Relationship Id="rId5" Type="http://schemas.openxmlformats.org/officeDocument/2006/relationships/chart" Target="../charts/chart28.xml"/><Relationship Id="rId6" Type="http://schemas.openxmlformats.org/officeDocument/2006/relationships/chart" Target="../charts/chart29.xml"/><Relationship Id="rId7" Type="http://schemas.openxmlformats.org/officeDocument/2006/relationships/chart" Target="../charts/chart30.xml"/></Relationships>
</file>

<file path=ppt/slides/_rels/slide60.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notesSlide" Target="../notesSlides/notesSlide6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3.xml"/><Relationship Id="rId7" Type="http://schemas.openxmlformats.org/officeDocument/2006/relationships/chart" Target="../charts/chart204.xml"/><Relationship Id="rId8" Type="http://schemas.openxmlformats.org/officeDocument/2006/relationships/chart" Target="../charts/chart205.xml"/><Relationship Id="rId9" Type="http://schemas.openxmlformats.org/officeDocument/2006/relationships/chart" Target="../charts/chart206.xml"/><Relationship Id="rId10" Type="http://schemas.openxmlformats.org/officeDocument/2006/relationships/chart" Target="../charts/chart207.xml"/><Relationship Id="rId11" Type="http://schemas.openxmlformats.org/officeDocument/2006/relationships/chart" Target="../charts/chart208.xml"/></Relationships>
</file>

<file path=ppt/slides/_rels/slide61.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notesSlide" Target="../notesSlides/notesSlide6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9.xml"/><Relationship Id="rId7" Type="http://schemas.openxmlformats.org/officeDocument/2006/relationships/chart" Target="../charts/chart210.xml"/><Relationship Id="rId8" Type="http://schemas.openxmlformats.org/officeDocument/2006/relationships/chart" Target="../charts/chart211.xml"/><Relationship Id="rId9" Type="http://schemas.openxmlformats.org/officeDocument/2006/relationships/chart" Target="../charts/chart212.xml"/><Relationship Id="rId10" Type="http://schemas.openxmlformats.org/officeDocument/2006/relationships/chart" Target="../charts/chart213.xml"/><Relationship Id="rId11" Type="http://schemas.openxmlformats.org/officeDocument/2006/relationships/chart" Target="../charts/chart214.xml"/></Relationships>
</file>

<file path=ppt/slides/_rels/slide62.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notesSlide" Target="../notesSlides/notesSlide6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5.xml"/><Relationship Id="rId7" Type="http://schemas.openxmlformats.org/officeDocument/2006/relationships/chart" Target="../charts/chart216.xml"/><Relationship Id="rId8" Type="http://schemas.openxmlformats.org/officeDocument/2006/relationships/chart" Target="../charts/chart217.xml"/><Relationship Id="rId9" Type="http://schemas.openxmlformats.org/officeDocument/2006/relationships/chart" Target="../charts/chart218.xml"/><Relationship Id="rId10" Type="http://schemas.openxmlformats.org/officeDocument/2006/relationships/chart" Target="../charts/chart219.xml"/><Relationship Id="rId11" Type="http://schemas.openxmlformats.org/officeDocument/2006/relationships/chart" Target="../charts/chart220.xml"/></Relationships>
</file>

<file path=ppt/slides/_rels/slide63.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notesSlide" Target="../notesSlides/notesSlide6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1.xml"/><Relationship Id="rId7" Type="http://schemas.openxmlformats.org/officeDocument/2006/relationships/chart" Target="../charts/chart222.xml"/><Relationship Id="rId8" Type="http://schemas.openxmlformats.org/officeDocument/2006/relationships/chart" Target="../charts/chart223.xml"/><Relationship Id="rId9" Type="http://schemas.openxmlformats.org/officeDocument/2006/relationships/chart" Target="../charts/chart224.xml"/><Relationship Id="rId10" Type="http://schemas.openxmlformats.org/officeDocument/2006/relationships/chart" Target="../charts/chart225.xml"/><Relationship Id="rId11" Type="http://schemas.openxmlformats.org/officeDocument/2006/relationships/chart" Target="../charts/chart226.xml"/></Relationships>
</file>

<file path=ppt/slides/_rels/slide64.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notesSlide" Target="../notesSlides/notesSlide6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7.xml"/><Relationship Id="rId7" Type="http://schemas.openxmlformats.org/officeDocument/2006/relationships/chart" Target="../charts/chart228.xml"/><Relationship Id="rId8" Type="http://schemas.openxmlformats.org/officeDocument/2006/relationships/chart" Target="../charts/chart229.xml"/><Relationship Id="rId9" Type="http://schemas.openxmlformats.org/officeDocument/2006/relationships/chart" Target="../charts/chart230.xml"/><Relationship Id="rId10" Type="http://schemas.openxmlformats.org/officeDocument/2006/relationships/chart" Target="../charts/chart231.xml"/><Relationship Id="rId11" Type="http://schemas.openxmlformats.org/officeDocument/2006/relationships/chart" Target="../charts/chart232.xml"/></Relationships>
</file>

<file path=ppt/slides/_rels/slide65.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notesSlide" Target="../notesSlides/notesSlide6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3.xml"/><Relationship Id="rId7" Type="http://schemas.openxmlformats.org/officeDocument/2006/relationships/chart" Target="../charts/chart234.xml"/><Relationship Id="rId8" Type="http://schemas.openxmlformats.org/officeDocument/2006/relationships/chart" Target="../charts/chart235.xml"/><Relationship Id="rId9" Type="http://schemas.openxmlformats.org/officeDocument/2006/relationships/chart" Target="../charts/chart236.xml"/><Relationship Id="rId10" Type="http://schemas.openxmlformats.org/officeDocument/2006/relationships/chart" Target="../charts/chart237.xml"/><Relationship Id="rId11" Type="http://schemas.openxmlformats.org/officeDocument/2006/relationships/chart" Target="../charts/chart238.xml"/></Relationships>
</file>

<file path=ppt/slides/_rels/slide66.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notesSlide" Target="../notesSlides/notesSlide6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9.xml"/><Relationship Id="rId7" Type="http://schemas.openxmlformats.org/officeDocument/2006/relationships/chart" Target="../charts/chart240.xml"/><Relationship Id="rId8" Type="http://schemas.openxmlformats.org/officeDocument/2006/relationships/chart" Target="../charts/chart241.xml"/><Relationship Id="rId9" Type="http://schemas.openxmlformats.org/officeDocument/2006/relationships/chart" Target="../charts/chart242.xml"/><Relationship Id="rId10" Type="http://schemas.openxmlformats.org/officeDocument/2006/relationships/chart" Target="../charts/chart243.xml"/><Relationship Id="rId11" Type="http://schemas.openxmlformats.org/officeDocument/2006/relationships/chart" Target="../charts/chart244.xml"/></Relationships>
</file>

<file path=ppt/slides/_rels/slide67.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notesSlide" Target="../notesSlides/notesSlide6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5.xml"/><Relationship Id="rId7" Type="http://schemas.openxmlformats.org/officeDocument/2006/relationships/chart" Target="../charts/chart246.xml"/><Relationship Id="rId8" Type="http://schemas.openxmlformats.org/officeDocument/2006/relationships/chart" Target="../charts/chart247.xml"/><Relationship Id="rId9" Type="http://schemas.openxmlformats.org/officeDocument/2006/relationships/chart" Target="../charts/chart248.xml"/><Relationship Id="rId10" Type="http://schemas.openxmlformats.org/officeDocument/2006/relationships/chart" Target="../charts/chart249.xml"/><Relationship Id="rId11" Type="http://schemas.openxmlformats.org/officeDocument/2006/relationships/chart" Target="../charts/chart250.xml"/></Relationships>
</file>

<file path=ppt/slides/_rels/slide68.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notesSlide" Target="../notesSlides/notesSlide68.xml"/><Relationship Id="rId4" Type="http://schemas.openxmlformats.org/officeDocument/2006/relationships/chart" Target="../charts/chart251.xml"/><Relationship Id="rId5" Type="http://schemas.openxmlformats.org/officeDocument/2006/relationships/oleObject" Target="../embeddings/oleObject28.bin"/><Relationship Id="rId6" Type="http://schemas.openxmlformats.org/officeDocument/2006/relationships/image" Target="../media/image29.emf"/></Relationships>
</file>

<file path=ppt/slides/_rels/slide69.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Layout" Target="../slideLayouts/slideLayout7.xml"/><Relationship Id="rId3" Type="http://schemas.openxmlformats.org/officeDocument/2006/relationships/notesSlide" Target="../notesSlides/notesSlide69.xml"/><Relationship Id="rId4" Type="http://schemas.openxmlformats.org/officeDocument/2006/relationships/chart" Target="../charts/chart252.xml"/><Relationship Id="rId5" Type="http://schemas.openxmlformats.org/officeDocument/2006/relationships/oleObject" Target="../embeddings/oleObject28.bin"/><Relationship Id="rId6" Type="http://schemas.openxmlformats.org/officeDocument/2006/relationships/image" Target="../media/image29.emf"/></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xml"/><Relationship Id="rId3" Type="http://schemas.openxmlformats.org/officeDocument/2006/relationships/chart" Target="../charts/chart31.xml"/><Relationship Id="rId4" Type="http://schemas.openxmlformats.org/officeDocument/2006/relationships/chart" Target="../charts/chart32.xml"/><Relationship Id="rId5" Type="http://schemas.openxmlformats.org/officeDocument/2006/relationships/chart" Target="../charts/chart33.xml"/><Relationship Id="rId6" Type="http://schemas.openxmlformats.org/officeDocument/2006/relationships/chart" Target="../charts/chart34.xml"/><Relationship Id="rId7" Type="http://schemas.openxmlformats.org/officeDocument/2006/relationships/chart" Target="../charts/chart35.xml"/></Relationships>
</file>

<file path=ppt/slides/_rels/slide70.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Layout" Target="../slideLayouts/slideLayout7.xml"/><Relationship Id="rId3" Type="http://schemas.openxmlformats.org/officeDocument/2006/relationships/notesSlide" Target="../notesSlides/notesSlide70.xml"/><Relationship Id="rId4" Type="http://schemas.openxmlformats.org/officeDocument/2006/relationships/chart" Target="../charts/chart253.xml"/><Relationship Id="rId5" Type="http://schemas.openxmlformats.org/officeDocument/2006/relationships/oleObject" Target="../embeddings/oleObject28.bin"/><Relationship Id="rId6" Type="http://schemas.openxmlformats.org/officeDocument/2006/relationships/image" Target="../media/image29.emf"/></Relationships>
</file>

<file path=ppt/slides/_rels/slide71.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Layout" Target="../slideLayouts/slideLayout7.xml"/><Relationship Id="rId3" Type="http://schemas.openxmlformats.org/officeDocument/2006/relationships/notesSlide" Target="../notesSlides/notesSlide71.xml"/><Relationship Id="rId4" Type="http://schemas.openxmlformats.org/officeDocument/2006/relationships/chart" Target="../charts/chart254.xml"/><Relationship Id="rId5" Type="http://schemas.openxmlformats.org/officeDocument/2006/relationships/oleObject" Target="../embeddings/oleObject28.bin"/><Relationship Id="rId6" Type="http://schemas.openxmlformats.org/officeDocument/2006/relationships/image" Target="../media/image29.emf"/></Relationships>
</file>

<file path=ppt/slides/_rels/slide72.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slideLayout" Target="../slideLayouts/slideLayout7.xml"/><Relationship Id="rId3" Type="http://schemas.openxmlformats.org/officeDocument/2006/relationships/notesSlide" Target="../notesSlides/notesSlide72.xml"/><Relationship Id="rId4" Type="http://schemas.openxmlformats.org/officeDocument/2006/relationships/chart" Target="../charts/chart255.xml"/><Relationship Id="rId5" Type="http://schemas.openxmlformats.org/officeDocument/2006/relationships/oleObject" Target="../embeddings/oleObject28.bin"/><Relationship Id="rId6" Type="http://schemas.openxmlformats.org/officeDocument/2006/relationships/image" Target="../media/image29.emf"/></Relationships>
</file>

<file path=ppt/slides/_rels/slide73.xml.rels><?xml version='1.0' encoding='UTF-8' standalone='yes'?>
<Relationships xmlns="http://schemas.openxmlformats.org/package/2006/relationships"><Relationship Id="rId1" Type="http://schemas.openxmlformats.org/officeDocument/2006/relationships/tags" Target="../tags/tag68.xml"/><Relationship Id="rId2" Type="http://schemas.openxmlformats.org/officeDocument/2006/relationships/slideLayout" Target="../slideLayouts/slideLayout7.xml"/><Relationship Id="rId3" Type="http://schemas.openxmlformats.org/officeDocument/2006/relationships/notesSlide" Target="../notesSlides/notesSlide73.xml"/><Relationship Id="rId4" Type="http://schemas.openxmlformats.org/officeDocument/2006/relationships/chart" Target="../charts/chart256.xml"/><Relationship Id="rId5" Type="http://schemas.openxmlformats.org/officeDocument/2006/relationships/oleObject" Target="../embeddings/oleObject28.bin"/><Relationship Id="rId6" Type="http://schemas.openxmlformats.org/officeDocument/2006/relationships/image" Target="../media/image29.emf"/></Relationships>
</file>

<file path=ppt/slides/_rels/slide74.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slideLayout" Target="../slideLayouts/slideLayout7.xml"/><Relationship Id="rId3" Type="http://schemas.openxmlformats.org/officeDocument/2006/relationships/notesSlide" Target="../notesSlides/notesSlide74.xml"/><Relationship Id="rId4" Type="http://schemas.openxmlformats.org/officeDocument/2006/relationships/chart" Target="../charts/chart257.xml"/><Relationship Id="rId5" Type="http://schemas.openxmlformats.org/officeDocument/2006/relationships/oleObject" Target="../embeddings/oleObject28.bin"/><Relationship Id="rId6" Type="http://schemas.openxmlformats.org/officeDocument/2006/relationships/image" Target="../media/image29.emf"/></Relationships>
</file>

<file path=ppt/slides/_rels/slide75.xml.rels><?xml version='1.0' encoding='UTF-8' standalone='yes'?>
<Relationships xmlns="http://schemas.openxmlformats.org/package/2006/relationships"><Relationship Id="rId1" Type="http://schemas.openxmlformats.org/officeDocument/2006/relationships/tags" Target="../tags/tag70.xml"/><Relationship Id="rId2" Type="http://schemas.openxmlformats.org/officeDocument/2006/relationships/slideLayout" Target="../slideLayouts/slideLayout7.xml"/><Relationship Id="rId3" Type="http://schemas.openxmlformats.org/officeDocument/2006/relationships/notesSlide" Target="../notesSlides/notesSlide75.xml"/><Relationship Id="rId4" Type="http://schemas.openxmlformats.org/officeDocument/2006/relationships/chart" Target="../charts/chart258.xml"/><Relationship Id="rId5" Type="http://schemas.openxmlformats.org/officeDocument/2006/relationships/oleObject" Target="../embeddings/oleObject28.bin"/><Relationship Id="rId6" Type="http://schemas.openxmlformats.org/officeDocument/2006/relationships/image" Target="../media/image29.emf"/></Relationships>
</file>

<file path=ppt/slides/_rels/slide76.xml.rels><?xml version='1.0' encoding='UTF-8' standalone='yes'?>
<Relationships xmlns="http://schemas.openxmlformats.org/package/2006/relationships"><Relationship Id="rId1" Type="http://schemas.openxmlformats.org/officeDocument/2006/relationships/tags" Target="../tags/tag71.xml"/><Relationship Id="rId2" Type="http://schemas.openxmlformats.org/officeDocument/2006/relationships/slideLayout" Target="../slideLayouts/slideLayout7.xml"/><Relationship Id="rId3" Type="http://schemas.openxmlformats.org/officeDocument/2006/relationships/notesSlide" Target="../notesSlides/notesSlide76.xml"/><Relationship Id="rId4" Type="http://schemas.openxmlformats.org/officeDocument/2006/relationships/chart" Target="../charts/chart259.xml"/><Relationship Id="rId5" Type="http://schemas.openxmlformats.org/officeDocument/2006/relationships/oleObject" Target="../embeddings/oleObject28.bin"/><Relationship Id="rId6" Type="http://schemas.openxmlformats.org/officeDocument/2006/relationships/image" Target="../media/image29.emf"/></Relationships>
</file>

<file path=ppt/slides/_rels/slide77.xml.rels><?xml version='1.0' encoding='UTF-8' standalone='yes'?>
<Relationships xmlns="http://schemas.openxmlformats.org/package/2006/relationships"><Relationship Id="rId1" Type="http://schemas.openxmlformats.org/officeDocument/2006/relationships/tags" Target="../tags/tag72.xml"/><Relationship Id="rId2" Type="http://schemas.openxmlformats.org/officeDocument/2006/relationships/slideLayout" Target="../slideLayouts/slideLayout7.xml"/><Relationship Id="rId3" Type="http://schemas.openxmlformats.org/officeDocument/2006/relationships/notesSlide" Target="../notesSlides/notesSlide77.xml"/><Relationship Id="rId4" Type="http://schemas.openxmlformats.org/officeDocument/2006/relationships/chart" Target="../charts/chart260.xml"/><Relationship Id="rId5" Type="http://schemas.openxmlformats.org/officeDocument/2006/relationships/oleObject" Target="../embeddings/oleObject28.bin"/><Relationship Id="rId6" Type="http://schemas.openxmlformats.org/officeDocument/2006/relationships/image" Target="../media/image29.emf"/></Relationships>
</file>

<file path=ppt/slides/_rels/slide78.xml.rels><?xml version='1.0' encoding='UTF-8' standalone='yes'?>
<Relationships xmlns="http://schemas.openxmlformats.org/package/2006/relationships"><Relationship Id="rId1" Type="http://schemas.openxmlformats.org/officeDocument/2006/relationships/tags" Target="../tags/tag73.xml"/><Relationship Id="rId2" Type="http://schemas.openxmlformats.org/officeDocument/2006/relationships/slideLayout" Target="../slideLayouts/slideLayout7.xml"/><Relationship Id="rId3" Type="http://schemas.openxmlformats.org/officeDocument/2006/relationships/notesSlide" Target="../notesSlides/notesSlide78.xml"/><Relationship Id="rId4" Type="http://schemas.openxmlformats.org/officeDocument/2006/relationships/chart" Target="../charts/chart261.xml"/><Relationship Id="rId5" Type="http://schemas.openxmlformats.org/officeDocument/2006/relationships/oleObject" Target="../embeddings/oleObject28.bin"/><Relationship Id="rId6" Type="http://schemas.openxmlformats.org/officeDocument/2006/relationships/image" Target="../media/image29.emf"/></Relationships>
</file>

<file path=ppt/slides/_rels/slide79.xml.rels><?xml version='1.0' encoding='UTF-8' standalone='yes'?>
<Relationships xmlns="http://schemas.openxmlformats.org/package/2006/relationships"><Relationship Id="rId1" Type="http://schemas.openxmlformats.org/officeDocument/2006/relationships/tags" Target="../tags/tag74.xml"/><Relationship Id="rId2" Type="http://schemas.openxmlformats.org/officeDocument/2006/relationships/slideLayout" Target="../slideLayouts/slideLayout7.xml"/><Relationship Id="rId3" Type="http://schemas.openxmlformats.org/officeDocument/2006/relationships/notesSlide" Target="../notesSlides/notesSlide79.xml"/><Relationship Id="rId4" Type="http://schemas.openxmlformats.org/officeDocument/2006/relationships/chart" Target="../charts/chart262.xml"/><Relationship Id="rId5" Type="http://schemas.openxmlformats.org/officeDocument/2006/relationships/oleObject" Target="../embeddings/oleObject28.bin"/><Relationship Id="rId6" Type="http://schemas.openxmlformats.org/officeDocument/2006/relationships/image" Target="../media/image29.emf"/></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xml"/><Relationship Id="rId3" Type="http://schemas.openxmlformats.org/officeDocument/2006/relationships/chart" Target="../charts/chart36.xml"/><Relationship Id="rId4" Type="http://schemas.openxmlformats.org/officeDocument/2006/relationships/chart" Target="../charts/chart37.xml"/><Relationship Id="rId5" Type="http://schemas.openxmlformats.org/officeDocument/2006/relationships/chart" Target="../charts/chart38.xml"/><Relationship Id="rId6" Type="http://schemas.openxmlformats.org/officeDocument/2006/relationships/chart" Target="../charts/chart39.xml"/><Relationship Id="rId7" Type="http://schemas.openxmlformats.org/officeDocument/2006/relationships/chart" Target="../charts/chart40.xml"/></Relationships>
</file>

<file path=ppt/slides/_rels/slide80.xml.rels><?xml version='1.0' encoding='UTF-8' standalone='yes'?>
<Relationships xmlns="http://schemas.openxmlformats.org/package/2006/relationships"><Relationship Id="rId1" Type="http://schemas.openxmlformats.org/officeDocument/2006/relationships/tags" Target="../tags/tag75.xml"/><Relationship Id="rId2" Type="http://schemas.openxmlformats.org/officeDocument/2006/relationships/slideLayout" Target="../slideLayouts/slideLayout7.xml"/><Relationship Id="rId3" Type="http://schemas.openxmlformats.org/officeDocument/2006/relationships/notesSlide" Target="../notesSlides/notesSlide80.xml"/><Relationship Id="rId4" Type="http://schemas.openxmlformats.org/officeDocument/2006/relationships/chart" Target="../charts/chart263.xml"/><Relationship Id="rId5" Type="http://schemas.openxmlformats.org/officeDocument/2006/relationships/oleObject" Target="../embeddings/oleObject28.bin"/><Relationship Id="rId6" Type="http://schemas.openxmlformats.org/officeDocument/2006/relationships/image" Target="../media/image29.emf"/></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xml"/><Relationship Id="rId3" Type="http://schemas.openxmlformats.org/officeDocument/2006/relationships/chart" Target="../charts/chart41.xml"/><Relationship Id="rId4" Type="http://schemas.openxmlformats.org/officeDocument/2006/relationships/chart" Target="../charts/chart42.xml"/><Relationship Id="rId5" Type="http://schemas.openxmlformats.org/officeDocument/2006/relationships/chart" Target="../charts/chart43.xml"/><Relationship Id="rId6" Type="http://schemas.openxmlformats.org/officeDocument/2006/relationships/chart" Target="../charts/chart44.xml"/><Relationship Id="rId7" Type="http://schemas.openxmlformats.org/officeDocument/2006/relationships/chart" Target="../charts/chart4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5342">
                <a:tc>
                  <a:txBody>
                    <a:bodyPr/>
                    <a:lstStyle/>
                    <a:p>
                      <a:pPr>
                        <a:defRPr sz="900">
                          <a:latin typeface="Nexa Bold"/>
                        </a:defRPr>
                      </a:pPr>
                      <a:r>
                        <a:t>Md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5342">
                <a:tc>
                  <a:txBody>
                    <a:bodyPr/>
                    <a:lstStyle/>
                    <a:p>
                      <a:pPr>
                        <a:defRPr sz="900">
                          <a:latin typeface="Nexa Bold"/>
                        </a:defRPr>
                      </a:pPr>
                      <a:r>
                        <a:t>Savenci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5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405342">
                <a:tc>
                  <a:txBody>
                    <a:bodyPr/>
                    <a:lstStyle/>
                    <a:p>
                      <a:pPr>
                        <a:defRPr sz="900">
                          <a:latin typeface="Nexa Bold"/>
                        </a:defRPr>
                      </a:pPr>
                      <a:r>
                        <a:t>Be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2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405342">
                <a:tc>
                  <a:txBody>
                    <a:bodyPr/>
                    <a:lstStyle/>
                    <a:p>
                      <a:pPr>
                        <a:defRPr sz="900">
                          <a:latin typeface="Nexa Bold"/>
                        </a:defRPr>
                      </a:pPr>
                      <a:r>
                        <a:t>Lactal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2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5342">
                <a:tc>
                  <a:txBody>
                    <a:bodyPr/>
                    <a:lstStyle/>
                    <a:p>
                      <a:pPr>
                        <a:defRPr sz="900">
                          <a:latin typeface="Nexa Bold"/>
                        </a:defRPr>
                      </a:pPr>
                      <a:r>
                        <a:t>Euri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9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405342">
                <a:tc>
                  <a:txBody>
                    <a:bodyPr/>
                    <a:lstStyle/>
                    <a:p>
                      <a:pPr>
                        <a:defRPr sz="900">
                          <a:latin typeface="Nexa Bold"/>
                        </a:defRPr>
                      </a:pPr>
                      <a:r>
                        <a:t>Casa Azzurr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3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405342">
                <a:tc>
                  <a:txBody>
                    <a:bodyPr/>
                    <a:lstStyle/>
                    <a:p>
                      <a:pPr>
                        <a:defRPr sz="900">
                          <a:latin typeface="Nexa Bold"/>
                        </a:defRPr>
                      </a:pPr>
                      <a:r>
                        <a:t>Lait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3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40534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Total Fromage | Carrefour</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Preside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So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Caprice Des Dieux</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9/25/2025</a:t>
            </a:fld>
            <a:endParaRPr lang="en-US"/>
          </a:p>
        </p:txBody>
      </p:sp>
    </p:spTree>
    <p:extLst>
      <p:ext uri="{BB962C8B-B14F-4D97-AF65-F5344CB8AC3E}">
        <p14:creationId xmlns:p14="http://schemas.microsoft.com/office/powerpoint/2010/main" val="41492222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40456">
                <a:tc>
                  <a:txBody>
                    <a:bodyPr/>
                    <a:lstStyle/>
                    <a:p>
                      <a:pPr>
                        <a:defRPr sz="900">
                          <a:latin typeface="Nexa Bold"/>
                        </a:defRPr>
                      </a:pPr>
                      <a:r>
                        <a:t>Savenci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540456">
                <a:tc>
                  <a:txBody>
                    <a:bodyPr/>
                    <a:lstStyle/>
                    <a:p>
                      <a:pPr>
                        <a:defRPr sz="900">
                          <a:latin typeface="Nexa Bold"/>
                        </a:defRPr>
                      </a:pPr>
                      <a:r>
                        <a:t>Lait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3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0456">
                <a:tc>
                  <a:txBody>
                    <a:bodyPr/>
                    <a:lstStyle/>
                    <a:p>
                      <a:pPr>
                        <a:defRPr sz="900">
                          <a:latin typeface="Nexa Bold"/>
                        </a:defRPr>
                      </a:pPr>
                      <a:r>
                        <a:t>Md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7.9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540456">
                <a:tc>
                  <a:txBody>
                    <a:bodyPr/>
                    <a:lstStyle/>
                    <a:p>
                      <a:pPr>
                        <a:defRPr sz="900">
                          <a:latin typeface="Nexa Bold"/>
                        </a:defRPr>
                      </a:pPr>
                      <a:r>
                        <a:t>Be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6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540456">
                <a:tc>
                  <a:txBody>
                    <a:bodyPr/>
                    <a:lstStyle/>
                    <a:p>
                      <a:pPr>
                        <a:defRPr sz="900">
                          <a:latin typeface="Nexa Bold"/>
                        </a:defRPr>
                      </a:pPr>
                      <a:r>
                        <a:t>Mondelez</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540456">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4.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0</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Frais A Tartiner | Intermarch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0304">
                <a:tc>
                  <a:txBody>
                    <a:bodyPr/>
                    <a:lstStyle/>
                    <a:p>
                      <a:pPr>
                        <a:defRPr sz="900">
                          <a:latin typeface="Nexa Bold"/>
                        </a:defRPr>
                      </a:pPr>
                      <a: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60304">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7.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60304">
                <a:tc>
                  <a:txBody>
                    <a:bodyPr/>
                    <a:lstStyle/>
                    <a:p>
                      <a:pPr>
                        <a:defRPr sz="900">
                          <a:latin typeface="Nexa Bold"/>
                        </a:defRPr>
                      </a:pPr>
                      <a:r>
                        <a:t>Paysan Bret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60304">
                <a:tc>
                  <a:txBody>
                    <a:bodyPr/>
                    <a:lstStyle/>
                    <a:p>
                      <a:pPr>
                        <a:defRPr sz="900">
                          <a:latin typeface="Nexa Bold"/>
                        </a:defRPr>
                      </a:pPr>
                      <a: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60304">
                <a:tc>
                  <a:txBody>
                    <a:bodyPr/>
                    <a:lstStyle/>
                    <a:p>
                      <a:pPr>
                        <a:defRPr sz="900">
                          <a:latin typeface="Nexa Bold"/>
                        </a:defRPr>
                      </a:pPr>
                      <a:r>
                        <a:t>Tart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60304">
                <a:tc>
                  <a:txBody>
                    <a:bodyPr/>
                    <a:lstStyle/>
                    <a:p>
                      <a:pPr>
                        <a:defRPr sz="900">
                          <a:latin typeface="Nexa Bold"/>
                        </a:defRPr>
                      </a:pPr>
                      <a:r>
                        <a:t>Carre Fra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60304">
                <a:tc>
                  <a:txBody>
                    <a:bodyPr/>
                    <a:lstStyle/>
                    <a:p>
                      <a:pPr>
                        <a:defRPr sz="900">
                          <a:latin typeface="Nexa Bold"/>
                        </a:defRPr>
                      </a:pPr>
                      <a:r>
                        <a:t>Philadelph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60304">
                <a:tc>
                  <a:txBody>
                    <a:bodyPr/>
                    <a:lstStyle/>
                    <a:p>
                      <a:pPr>
                        <a:defRPr sz="900">
                          <a:latin typeface="Nexa Bold"/>
                        </a:defRPr>
                      </a:pPr>
                      <a: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6030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9/25/2025</a:t>
            </a:fld>
            <a:endParaRPr lang="en-US"/>
          </a:p>
        </p:txBody>
      </p:sp>
    </p:spTree>
    <p:extLst>
      <p:ext uri="{BB962C8B-B14F-4D97-AF65-F5344CB8AC3E}">
        <p14:creationId xmlns:p14="http://schemas.microsoft.com/office/powerpoint/2010/main" val="127361646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40456">
                <a:tc>
                  <a:txBody>
                    <a:bodyPr/>
                    <a:lstStyle/>
                    <a:p>
                      <a:pPr>
                        <a:defRPr sz="900">
                          <a:latin typeface="Nexa Bold"/>
                        </a:defRPr>
                      </a:pPr>
                      <a:r>
                        <a:t>Md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4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540456">
                <a:tc>
                  <a:txBody>
                    <a:bodyPr/>
                    <a:lstStyle/>
                    <a:p>
                      <a:pPr>
                        <a:defRPr sz="900">
                          <a:latin typeface="Nexa Bold"/>
                        </a:defRPr>
                      </a:pPr>
                      <a:r>
                        <a:t>Lactal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4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0456">
                <a:tc>
                  <a:txBody>
                    <a:bodyPr/>
                    <a:lstStyle/>
                    <a:p>
                      <a:pPr>
                        <a:defRPr sz="900">
                          <a:latin typeface="Nexa Bold"/>
                        </a:defRPr>
                      </a:pPr>
                      <a:r>
                        <a:t>Casa Azzurr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3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540456">
                <a:tc>
                  <a:txBody>
                    <a:bodyPr/>
                    <a:lstStyle/>
                    <a:p>
                      <a:pPr>
                        <a:defRPr sz="900">
                          <a:latin typeface="Nexa Bold"/>
                        </a:defRPr>
                      </a:pPr>
                      <a:r>
                        <a:t>Savenci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8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540456">
                <a:tc>
                  <a:txBody>
                    <a:bodyPr/>
                    <a:lstStyle/>
                    <a:p>
                      <a:pPr>
                        <a:defRPr sz="900">
                          <a:latin typeface="Nexa Bold"/>
                        </a:defRPr>
                      </a:pPr>
                      <a:r>
                        <a:t>Be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540456">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8.8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1</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Salade | Carrefour</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3248">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463248">
                <a:tc>
                  <a:txBody>
                    <a:bodyPr/>
                    <a:lstStyle/>
                    <a:p>
                      <a:pPr>
                        <a:defRPr sz="900">
                          <a:latin typeface="Nexa Bold"/>
                        </a:defRPr>
                      </a:pPr>
                      <a: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463248">
                <a:tc>
                  <a:txBody>
                    <a:bodyPr/>
                    <a:lstStyle/>
                    <a:p>
                      <a:pPr>
                        <a:defRPr sz="900">
                          <a:latin typeface="Nexa Bold"/>
                        </a:defRPr>
                      </a:pPr>
                      <a:r>
                        <a:t>Casa Azzur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463248">
                <a:tc>
                  <a:txBody>
                    <a:bodyPr/>
                    <a:lstStyle/>
                    <a:p>
                      <a:pPr>
                        <a:defRPr sz="900">
                          <a:latin typeface="Nexa Bold"/>
                        </a:defRPr>
                      </a:pPr>
                      <a:r>
                        <a:t>Salak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63248">
                <a:tc>
                  <a:txBody>
                    <a:bodyPr/>
                    <a:lstStyle/>
                    <a:p>
                      <a:pPr>
                        <a:defRPr sz="900">
                          <a:latin typeface="Nexa Bold"/>
                        </a:defRPr>
                      </a:pPr>
                      <a:r>
                        <a:t>Islo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63248">
                <a:tc>
                  <a:txBody>
                    <a:bodyPr/>
                    <a:lstStyle/>
                    <a:p>
                      <a:pPr>
                        <a:defRPr sz="900">
                          <a:latin typeface="Nexa Bold"/>
                        </a:defRPr>
                      </a:pPr>
                      <a: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6324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9/25/2025</a:t>
            </a:fld>
            <a:endParaRPr lang="en-US"/>
          </a:p>
        </p:txBody>
      </p:sp>
    </p:spTree>
    <p:extLst>
      <p:ext uri="{BB962C8B-B14F-4D97-AF65-F5344CB8AC3E}">
        <p14:creationId xmlns:p14="http://schemas.microsoft.com/office/powerpoint/2010/main" val="229226497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40456">
                <a:tc>
                  <a:txBody>
                    <a:bodyPr/>
                    <a:lstStyle/>
                    <a:p>
                      <a:pPr>
                        <a:defRPr sz="900">
                          <a:latin typeface="Nexa Bold"/>
                        </a:defRPr>
                      </a:pPr>
                      <a:r>
                        <a:t>Md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8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540456">
                <a:tc>
                  <a:txBody>
                    <a:bodyPr/>
                    <a:lstStyle/>
                    <a:p>
                      <a:pPr>
                        <a:defRPr sz="900">
                          <a:latin typeface="Nexa Bold"/>
                        </a:defRPr>
                      </a:pPr>
                      <a:r>
                        <a:t>Lactal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4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0456">
                <a:tc>
                  <a:txBody>
                    <a:bodyPr/>
                    <a:lstStyle/>
                    <a:p>
                      <a:pPr>
                        <a:defRPr sz="900">
                          <a:latin typeface="Nexa Bold"/>
                        </a:defRPr>
                      </a:pPr>
                      <a:r>
                        <a:t>Casa Azzurr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3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540456">
                <a:tc>
                  <a:txBody>
                    <a:bodyPr/>
                    <a:lstStyle/>
                    <a:p>
                      <a:pPr>
                        <a:defRPr sz="900">
                          <a:latin typeface="Nexa Bold"/>
                        </a:defRPr>
                      </a:pPr>
                      <a:r>
                        <a:t>Savenci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9.4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540456">
                <a:tc>
                  <a:txBody>
                    <a:bodyPr/>
                    <a:lstStyle/>
                    <a:p>
                      <a:pPr>
                        <a:defRPr sz="900">
                          <a:latin typeface="Nexa Bold"/>
                        </a:defRPr>
                      </a:pPr>
                      <a:r>
                        <a:t>Be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540456">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0.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1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Salade | Intermarch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3248">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463248">
                <a:tc>
                  <a:txBody>
                    <a:bodyPr/>
                    <a:lstStyle/>
                    <a:p>
                      <a:pPr>
                        <a:defRPr sz="900">
                          <a:latin typeface="Nexa Bold"/>
                        </a:defRPr>
                      </a:pPr>
                      <a: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463248">
                <a:tc>
                  <a:txBody>
                    <a:bodyPr/>
                    <a:lstStyle/>
                    <a:p>
                      <a:pPr>
                        <a:defRPr sz="900">
                          <a:latin typeface="Nexa Bold"/>
                        </a:defRPr>
                      </a:pPr>
                      <a:r>
                        <a:t>Salak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463248">
                <a:tc>
                  <a:txBody>
                    <a:bodyPr/>
                    <a:lstStyle/>
                    <a:p>
                      <a:pPr>
                        <a:defRPr sz="900">
                          <a:latin typeface="Nexa Bold"/>
                        </a:defRPr>
                      </a:pPr>
                      <a:r>
                        <a:t>Casa Azzur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63248">
                <a:tc>
                  <a:txBody>
                    <a:bodyPr/>
                    <a:lstStyle/>
                    <a:p>
                      <a:pPr>
                        <a:defRPr sz="900">
                          <a:latin typeface="Nexa Bold"/>
                        </a:defRPr>
                      </a:pPr>
                      <a:r>
                        <a:t>Islo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63248">
                <a:tc>
                  <a:txBody>
                    <a:bodyPr/>
                    <a:lstStyle/>
                    <a:p>
                      <a:pPr>
                        <a:defRPr sz="900">
                          <a:latin typeface="Nexa Bold"/>
                        </a:defRPr>
                      </a:pPr>
                      <a: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6324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9/25/2025</a:t>
            </a:fld>
            <a:endParaRPr lang="en-US"/>
          </a:p>
        </p:txBody>
      </p:sp>
    </p:spTree>
    <p:extLst>
      <p:ext uri="{BB962C8B-B14F-4D97-AF65-F5344CB8AC3E}">
        <p14:creationId xmlns:p14="http://schemas.microsoft.com/office/powerpoint/2010/main" val="7429183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tailer | Total Fromage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17"/>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Carrefou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6613">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6613">
                <a:tc>
                  <a:txBody>
                    <a:bodyPr/>
                    <a:lstStyle/>
                    <a:p>
                      <a:pPr>
                        <a:defRPr sz="900">
                          <a:latin typeface="Nexa Bold"/>
                        </a:defRPr>
                      </a:pPr>
                      <a: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5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6613">
                <a:tc>
                  <a:txBody>
                    <a:bodyPr/>
                    <a:lstStyle/>
                    <a:p>
                      <a:pPr>
                        <a:defRPr sz="900">
                          <a:latin typeface="Nexa Bold"/>
                        </a:defRPr>
                      </a:pPr>
                      <a: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6613">
                <a:tc>
                  <a:txBody>
                    <a:bodyPr/>
                    <a:lstStyle/>
                    <a:p>
                      <a:pPr>
                        <a:defRPr sz="900">
                          <a:latin typeface="Nexa Bold"/>
                        </a:defRPr>
                      </a:pPr>
                      <a:r>
                        <a:t>Lactal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6613">
                <a:tc>
                  <a:txBody>
                    <a:bodyPr/>
                    <a:lstStyle/>
                    <a:p>
                      <a:pPr>
                        <a:defRPr sz="900">
                          <a:latin typeface="Nexa Bold"/>
                        </a:defRPr>
                      </a:pPr>
                      <a:r>
                        <a:t>Euri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6613">
                <a:tc>
                  <a:txBody>
                    <a:bodyPr/>
                    <a:lstStyle/>
                    <a:p>
                      <a:pPr>
                        <a:defRPr sz="900">
                          <a:latin typeface="Nexa Bold"/>
                        </a:defRPr>
                      </a:pPr>
                      <a:r>
                        <a:t>Casa Azzur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6613">
                <a:tc>
                  <a:txBody>
                    <a:bodyPr/>
                    <a:lstStyle/>
                    <a:p>
                      <a:pPr>
                        <a:defRPr sz="900">
                          <a:latin typeface="Nexa Bold"/>
                        </a:defRPr>
                      </a:pPr>
                      <a:r>
                        <a:t>Lait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661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Intermarch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7011">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7011">
                <a:tc>
                  <a:txBody>
                    <a:bodyPr/>
                    <a:lstStyle/>
                    <a:p>
                      <a:pPr>
                        <a:defRPr sz="900">
                          <a:latin typeface="Nexa Bold"/>
                        </a:defRPr>
                      </a:pPr>
                      <a: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7011">
                <a:tc>
                  <a:txBody>
                    <a:bodyPr/>
                    <a:lstStyle/>
                    <a:p>
                      <a:pPr>
                        <a:defRPr sz="900">
                          <a:latin typeface="Nexa Bold"/>
                        </a:defRPr>
                      </a:pPr>
                      <a:r>
                        <a:t>Lactal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7011">
                <a:tc>
                  <a:txBody>
                    <a:bodyPr/>
                    <a:lstStyle/>
                    <a:p>
                      <a:pPr>
                        <a:defRPr sz="900">
                          <a:latin typeface="Nexa Bold"/>
                        </a:defRPr>
                      </a:pPr>
                      <a: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0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7011">
                <a:tc>
                  <a:txBody>
                    <a:bodyPr/>
                    <a:lstStyle/>
                    <a:p>
                      <a:pPr>
                        <a:defRPr sz="900">
                          <a:latin typeface="Nexa Bold"/>
                        </a:defRPr>
                      </a:pPr>
                      <a:r>
                        <a:t>Euri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7011">
                <a:tc>
                  <a:txBody>
                    <a:bodyPr/>
                    <a:lstStyle/>
                    <a:p>
                      <a:pPr>
                        <a:defRPr sz="900">
                          <a:latin typeface="Nexa Bold"/>
                        </a:defRPr>
                      </a:pPr>
                      <a:r>
                        <a:t>Casa Azzur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7011">
                <a:tc>
                  <a:txBody>
                    <a:bodyPr/>
                    <a:lstStyle/>
                    <a:p>
                      <a:pPr>
                        <a:defRPr sz="900">
                          <a:latin typeface="Nexa Bold"/>
                        </a:defRPr>
                      </a:pPr>
                      <a:r>
                        <a:t>Lait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701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4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9/25/2025</a:t>
            </a:fld>
            <a:endParaRPr lang="en-US"/>
          </a:p>
        </p:txBody>
      </p:sp>
    </p:spTree>
    <p:extLst>
      <p:ext uri="{BB962C8B-B14F-4D97-AF65-F5344CB8AC3E}">
        <p14:creationId xmlns:p14="http://schemas.microsoft.com/office/powerpoint/2010/main" val="276585536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tailer | Soft Cheese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19"/>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Carrefou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1434">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1434">
                <a:tc>
                  <a:txBody>
                    <a:bodyPr/>
                    <a:lstStyle/>
                    <a:p>
                      <a:pPr>
                        <a:defRPr sz="900">
                          <a:latin typeface="Nexa Bold"/>
                        </a:defRPr>
                      </a:pPr>
                      <a: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1434">
                <a:tc>
                  <a:txBody>
                    <a:bodyPr/>
                    <a:lstStyle/>
                    <a:p>
                      <a:pPr>
                        <a:defRPr sz="900">
                          <a:latin typeface="Nexa Bold"/>
                        </a:defRPr>
                      </a:pPr>
                      <a:r>
                        <a:t>Lactal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1434">
                <a:tc>
                  <a:txBody>
                    <a:bodyPr/>
                    <a:lstStyle/>
                    <a:p>
                      <a:pPr>
                        <a:defRPr sz="900">
                          <a:latin typeface="Nexa Bold"/>
                        </a:defRPr>
                      </a:pPr>
                      <a: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1434">
                <a:tc>
                  <a:txBody>
                    <a:bodyPr/>
                    <a:lstStyle/>
                    <a:p>
                      <a:pPr>
                        <a:defRPr sz="900">
                          <a:latin typeface="Nexa Bold"/>
                        </a:defRPr>
                      </a:pPr>
                      <a:r>
                        <a:t>Euri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1434">
                <a:tc>
                  <a:txBody>
                    <a:bodyPr/>
                    <a:lstStyle/>
                    <a:p>
                      <a:pPr>
                        <a:defRPr sz="900">
                          <a:latin typeface="Nexa Bold"/>
                        </a:defRPr>
                      </a:pPr>
                      <a:r>
                        <a:t>Casa Azzur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1434">
                <a:tc>
                  <a:txBody>
                    <a:bodyPr/>
                    <a:lstStyle/>
                    <a:p>
                      <a:pPr>
                        <a:defRPr sz="900">
                          <a:latin typeface="Nexa Bold"/>
                        </a:defRPr>
                      </a:pPr>
                      <a:r>
                        <a:t>Lait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1434">
                <a:tc>
                  <a:txBody>
                    <a:bodyPr/>
                    <a:lstStyle/>
                    <a:p>
                      <a:pPr>
                        <a:defRPr sz="900">
                          <a:latin typeface="Nexa Bold"/>
                        </a:defRPr>
                      </a:pPr>
                      <a:r>
                        <a:t>Ker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143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Intermarch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7011">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7011">
                <a:tc>
                  <a:txBody>
                    <a:bodyPr/>
                    <a:lstStyle/>
                    <a:p>
                      <a:pPr>
                        <a:defRPr sz="900">
                          <a:latin typeface="Nexa Bold"/>
                        </a:defRPr>
                      </a:pPr>
                      <a: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7011">
                <a:tc>
                  <a:txBody>
                    <a:bodyPr/>
                    <a:lstStyle/>
                    <a:p>
                      <a:pPr>
                        <a:defRPr sz="900">
                          <a:latin typeface="Nexa Bold"/>
                        </a:defRPr>
                      </a:pPr>
                      <a:r>
                        <a:t>Lactal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7011">
                <a:tc>
                  <a:txBody>
                    <a:bodyPr/>
                    <a:lstStyle/>
                    <a:p>
                      <a:pPr>
                        <a:defRPr sz="900">
                          <a:latin typeface="Nexa Bold"/>
                        </a:defRPr>
                      </a:pPr>
                      <a: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7011">
                <a:tc>
                  <a:txBody>
                    <a:bodyPr/>
                    <a:lstStyle/>
                    <a:p>
                      <a:pPr>
                        <a:defRPr sz="900">
                          <a:latin typeface="Nexa Bold"/>
                        </a:defRPr>
                      </a:pPr>
                      <a:r>
                        <a:t>Euri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7011">
                <a:tc>
                  <a:txBody>
                    <a:bodyPr/>
                    <a:lstStyle/>
                    <a:p>
                      <a:pPr>
                        <a:defRPr sz="900">
                          <a:latin typeface="Nexa Bold"/>
                        </a:defRPr>
                      </a:pPr>
                      <a:r>
                        <a:t>Casa Azzur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7011">
                <a:tc>
                  <a:txBody>
                    <a:bodyPr/>
                    <a:lstStyle/>
                    <a:p>
                      <a:pPr>
                        <a:defRPr sz="900">
                          <a:latin typeface="Nexa Bold"/>
                        </a:defRPr>
                      </a:pPr>
                      <a:r>
                        <a:t>Lait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701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9/25/2025</a:t>
            </a:fld>
            <a:endParaRPr lang="en-US"/>
          </a:p>
        </p:txBody>
      </p:sp>
    </p:spTree>
    <p:extLst>
      <p:ext uri="{BB962C8B-B14F-4D97-AF65-F5344CB8AC3E}">
        <p14:creationId xmlns:p14="http://schemas.microsoft.com/office/powerpoint/2010/main" val="225876314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tailer | Aperitif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Carrefou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0582">
                <a:tc>
                  <a:txBody>
                    <a:bodyPr/>
                    <a:lstStyle/>
                    <a:p>
                      <a:pPr>
                        <a:defRPr sz="900">
                          <a:latin typeface="Nexa Bold"/>
                        </a:defRPr>
                      </a:pPr>
                      <a: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0582">
                <a:tc>
                  <a:txBody>
                    <a:bodyPr/>
                    <a:lstStyle/>
                    <a:p>
                      <a:pPr>
                        <a:defRPr sz="900">
                          <a:latin typeface="Nexa Bold"/>
                        </a:defRPr>
                      </a:pPr>
                      <a: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0582">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0582">
                <a:tc>
                  <a:txBody>
                    <a:bodyPr/>
                    <a:lstStyle/>
                    <a:p>
                      <a:pPr>
                        <a:defRPr sz="900">
                          <a:latin typeface="Nexa Bold"/>
                        </a:defRPr>
                      </a:pPr>
                      <a:r>
                        <a:t>Lactal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058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Intermarch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022">
                <a:tc>
                  <a:txBody>
                    <a:bodyPr/>
                    <a:lstStyle/>
                    <a:p>
                      <a:pPr>
                        <a:defRPr sz="900">
                          <a:latin typeface="Nexa Bold"/>
                        </a:defRPr>
                      </a:pPr>
                      <a: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022">
                <a:tc>
                  <a:txBody>
                    <a:bodyPr/>
                    <a:lstStyle/>
                    <a:p>
                      <a:pPr>
                        <a:defRPr sz="900">
                          <a:latin typeface="Nexa Bold"/>
                        </a:defRPr>
                      </a:pPr>
                      <a: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022">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02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9/25/2025</a:t>
            </a:fld>
            <a:endParaRPr lang="en-US"/>
          </a:p>
        </p:txBody>
      </p:sp>
    </p:spTree>
    <p:extLst>
      <p:ext uri="{BB962C8B-B14F-4D97-AF65-F5344CB8AC3E}">
        <p14:creationId xmlns:p14="http://schemas.microsoft.com/office/powerpoint/2010/main" val="217685373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tailer | Enfant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Carrefou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0582">
                <a:tc>
                  <a:txBody>
                    <a:bodyPr/>
                    <a:lstStyle/>
                    <a:p>
                      <a:pPr>
                        <a:defRPr sz="900">
                          <a:latin typeface="Nexa Bold"/>
                        </a:defRPr>
                      </a:pPr>
                      <a: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0582">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0582">
                <a:tc>
                  <a:txBody>
                    <a:bodyPr/>
                    <a:lstStyle/>
                    <a:p>
                      <a:pPr>
                        <a:defRPr sz="900">
                          <a:latin typeface="Nexa Bold"/>
                        </a:defRPr>
                      </a:pPr>
                      <a:r>
                        <a:t>Ker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0582">
                <a:tc>
                  <a:txBody>
                    <a:bodyPr/>
                    <a:lstStyle/>
                    <a:p>
                      <a:pPr>
                        <a:defRPr sz="900">
                          <a:latin typeface="Nexa Bold"/>
                        </a:defRPr>
                      </a:pPr>
                      <a: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058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Intermarch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1218">
                <a:tc>
                  <a:txBody>
                    <a:bodyPr/>
                    <a:lstStyle/>
                    <a:p>
                      <a:pPr>
                        <a:defRPr sz="900">
                          <a:latin typeface="Nexa Bold"/>
                        </a:defRPr>
                      </a:pPr>
                      <a: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1218">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1218">
                <a:tc>
                  <a:txBody>
                    <a:bodyPr/>
                    <a:lstStyle/>
                    <a:p>
                      <a:pPr>
                        <a:defRPr sz="900">
                          <a:latin typeface="Nexa Bold"/>
                        </a:defRPr>
                      </a:pPr>
                      <a:r>
                        <a:t>Ker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1218">
                <a:tc>
                  <a:txBody>
                    <a:bodyPr/>
                    <a:lstStyle/>
                    <a:p>
                      <a:pPr>
                        <a:defRPr sz="900">
                          <a:latin typeface="Nexa Bold"/>
                        </a:defRPr>
                      </a:pPr>
                      <a: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121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9/25/2025</a:t>
            </a:fld>
            <a:endParaRPr lang="en-US"/>
          </a:p>
        </p:txBody>
      </p:sp>
    </p:spTree>
    <p:extLst>
      <p:ext uri="{BB962C8B-B14F-4D97-AF65-F5344CB8AC3E}">
        <p14:creationId xmlns:p14="http://schemas.microsoft.com/office/powerpoint/2010/main" val="229077059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tailer | Frais A Tartiner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20"/>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Carrefou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4701">
                <a:tc>
                  <a:txBody>
                    <a:bodyPr/>
                    <a:lstStyle/>
                    <a:p>
                      <a:pPr>
                        <a:defRPr sz="900">
                          <a:latin typeface="Nexa Bold"/>
                        </a:defRPr>
                      </a:pPr>
                      <a: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4701">
                <a:tc>
                  <a:txBody>
                    <a:bodyPr/>
                    <a:lstStyle/>
                    <a:p>
                      <a:pPr>
                        <a:defRPr sz="900">
                          <a:latin typeface="Nexa Bold"/>
                        </a:defRPr>
                      </a:pPr>
                      <a:r>
                        <a:t>Lait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4701">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4701">
                <a:tc>
                  <a:txBody>
                    <a:bodyPr/>
                    <a:lstStyle/>
                    <a:p>
                      <a:pPr>
                        <a:defRPr sz="900">
                          <a:latin typeface="Nexa Bold"/>
                        </a:defRPr>
                      </a:pPr>
                      <a: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4701">
                <a:tc>
                  <a:txBody>
                    <a:bodyPr/>
                    <a:lstStyle/>
                    <a:p>
                      <a:pPr>
                        <a:defRPr sz="900">
                          <a:latin typeface="Nexa Bold"/>
                        </a:defRPr>
                      </a:pPr>
                      <a:r>
                        <a:t>Mondele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4701">
                <a:tc>
                  <a:txBody>
                    <a:bodyPr/>
                    <a:lstStyle/>
                    <a:p>
                      <a:pPr>
                        <a:defRPr sz="900">
                          <a:latin typeface="Nexa Bold"/>
                        </a:defRPr>
                      </a:pPr>
                      <a:r>
                        <a:t>Lactal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470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19"/>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Intermarch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2681">
                <a:tc>
                  <a:txBody>
                    <a:bodyPr/>
                    <a:lstStyle/>
                    <a:p>
                      <a:pPr>
                        <a:defRPr sz="900">
                          <a:latin typeface="Nexa Bold"/>
                        </a:defRPr>
                      </a:pPr>
                      <a: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2681">
                <a:tc>
                  <a:txBody>
                    <a:bodyPr/>
                    <a:lstStyle/>
                    <a:p>
                      <a:pPr>
                        <a:defRPr sz="900">
                          <a:latin typeface="Nexa Bold"/>
                        </a:defRPr>
                      </a:pPr>
                      <a:r>
                        <a:t>Lait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2681">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2681">
                <a:tc>
                  <a:txBody>
                    <a:bodyPr/>
                    <a:lstStyle/>
                    <a:p>
                      <a:pPr>
                        <a:defRPr sz="900">
                          <a:latin typeface="Nexa Bold"/>
                        </a:defRPr>
                      </a:pPr>
                      <a: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2681">
                <a:tc>
                  <a:txBody>
                    <a:bodyPr/>
                    <a:lstStyle/>
                    <a:p>
                      <a:pPr>
                        <a:defRPr sz="900">
                          <a:latin typeface="Nexa Bold"/>
                        </a:defRPr>
                      </a:pPr>
                      <a:r>
                        <a:t>Mondele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268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9/25/2025</a:t>
            </a:fld>
            <a:endParaRPr lang="en-US"/>
          </a:p>
        </p:txBody>
      </p:sp>
    </p:spTree>
    <p:extLst>
      <p:ext uri="{BB962C8B-B14F-4D97-AF65-F5344CB8AC3E}">
        <p14:creationId xmlns:p14="http://schemas.microsoft.com/office/powerpoint/2010/main" val="140118699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Retailer | Salade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19"/>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Carrefou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2151">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2151">
                <a:tc>
                  <a:txBody>
                    <a:bodyPr/>
                    <a:lstStyle/>
                    <a:p>
                      <a:pPr>
                        <a:defRPr sz="900">
                          <a:latin typeface="Nexa Bold"/>
                        </a:defRPr>
                      </a:pPr>
                      <a:r>
                        <a:t>Lactal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2151">
                <a:tc>
                  <a:txBody>
                    <a:bodyPr/>
                    <a:lstStyle/>
                    <a:p>
                      <a:pPr>
                        <a:defRPr sz="900">
                          <a:latin typeface="Nexa Bold"/>
                        </a:defRPr>
                      </a:pPr>
                      <a:r>
                        <a:t>Casa Azzur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2151">
                <a:tc>
                  <a:txBody>
                    <a:bodyPr/>
                    <a:lstStyle/>
                    <a:p>
                      <a:pPr>
                        <a:defRPr sz="900">
                          <a:latin typeface="Nexa Bold"/>
                        </a:defRPr>
                      </a:pPr>
                      <a: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2151">
                <a:tc>
                  <a:txBody>
                    <a:bodyPr/>
                    <a:lstStyle/>
                    <a:p>
                      <a:pPr>
                        <a:defRPr sz="900">
                          <a:latin typeface="Nexa Bold"/>
                        </a:defRPr>
                      </a:pPr>
                      <a: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215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8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19"/>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Intermarch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2681">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2681">
                <a:tc>
                  <a:txBody>
                    <a:bodyPr/>
                    <a:lstStyle/>
                    <a:p>
                      <a:pPr>
                        <a:defRPr sz="900">
                          <a:latin typeface="Nexa Bold"/>
                        </a:defRPr>
                      </a:pPr>
                      <a:r>
                        <a:t>Lactal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2681">
                <a:tc>
                  <a:txBody>
                    <a:bodyPr/>
                    <a:lstStyle/>
                    <a:p>
                      <a:pPr>
                        <a:defRPr sz="900">
                          <a:latin typeface="Nexa Bold"/>
                        </a:defRPr>
                      </a:pPr>
                      <a:r>
                        <a:t>Casa Azzur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2681">
                <a:tc>
                  <a:txBody>
                    <a:bodyPr/>
                    <a:lstStyle/>
                    <a:p>
                      <a:pPr>
                        <a:defRPr sz="900">
                          <a:latin typeface="Nexa Bold"/>
                        </a:defRPr>
                      </a:pPr>
                      <a: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2681">
                <a:tc>
                  <a:txBody>
                    <a:bodyPr/>
                    <a:lstStyle/>
                    <a:p>
                      <a:pPr>
                        <a:defRPr sz="900">
                          <a:latin typeface="Nexa Bold"/>
                        </a:defRPr>
                      </a:pPr>
                      <a: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268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9/25/2025</a:t>
            </a:fld>
            <a:endParaRPr lang="en-US"/>
          </a:p>
        </p:txBody>
      </p:sp>
    </p:spTree>
    <p:extLst>
      <p:ext uri="{BB962C8B-B14F-4D97-AF65-F5344CB8AC3E}">
        <p14:creationId xmlns:p14="http://schemas.microsoft.com/office/powerpoint/2010/main" val="403740977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tailer | Total Fromage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Carrefou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291">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291">
                <a:tc>
                  <a:txBody>
                    <a:bodyPr/>
                    <a:lstStyle/>
                    <a:p>
                      <a:pPr>
                        <a:defRPr sz="900">
                          <a:latin typeface="Nexa Bold"/>
                        </a:defRPr>
                      </a:pPr>
                      <a:r>
                        <a:t>Preside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291">
                <a:tc>
                  <a:txBody>
                    <a:bodyPr/>
                    <a:lstStyle/>
                    <a:p>
                      <a:pPr>
                        <a:defRPr sz="900">
                          <a:latin typeface="Nexa Bold"/>
                        </a:defRPr>
                      </a:pPr>
                      <a: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291">
                <a:tc>
                  <a:txBody>
                    <a:bodyPr/>
                    <a:lstStyle/>
                    <a:p>
                      <a:pPr>
                        <a:defRPr sz="900">
                          <a:latin typeface="Nexa Bold"/>
                        </a:defRPr>
                      </a:pPr>
                      <a: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291">
                <a:tc>
                  <a:txBody>
                    <a:bodyPr/>
                    <a:lstStyle/>
                    <a:p>
                      <a:pPr>
                        <a:defRPr sz="900">
                          <a:latin typeface="Nexa Bold"/>
                        </a:defRPr>
                      </a:pPr>
                      <a:r>
                        <a:t>So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291">
                <a:tc>
                  <a:txBody>
                    <a:bodyPr/>
                    <a:lstStyle/>
                    <a:p>
                      <a:pPr>
                        <a:defRPr sz="900">
                          <a:latin typeface="Nexa Bold"/>
                        </a:defRPr>
                      </a:pPr>
                      <a:r>
                        <a:t>Caprice Des Dieux</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291">
                <a:tc>
                  <a:txBody>
                    <a:bodyPr/>
                    <a:lstStyle/>
                    <a:p>
                      <a:pPr>
                        <a:defRPr sz="900">
                          <a:latin typeface="Nexa Bold"/>
                        </a:defRPr>
                      </a:pPr>
                      <a: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291">
                <a:tc>
                  <a:txBody>
                    <a:bodyPr/>
                    <a:lstStyle/>
                    <a:p>
                      <a:pPr>
                        <a:defRPr sz="900">
                          <a:latin typeface="Nexa Bold"/>
                        </a:defRPr>
                      </a:pPr>
                      <a: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291">
                <a:tc>
                  <a:txBody>
                    <a:bodyPr/>
                    <a:lstStyle/>
                    <a:p>
                      <a:pPr>
                        <a:defRPr sz="900">
                          <a:latin typeface="Nexa Bold"/>
                        </a:defRPr>
                      </a:pPr>
                      <a: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29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Intermarch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609">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609">
                <a:tc>
                  <a:txBody>
                    <a:bodyPr/>
                    <a:lstStyle/>
                    <a:p>
                      <a:pPr>
                        <a:defRPr sz="900">
                          <a:latin typeface="Nexa Bold"/>
                        </a:defRPr>
                      </a:pPr>
                      <a: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609">
                <a:tc>
                  <a:txBody>
                    <a:bodyPr/>
                    <a:lstStyle/>
                    <a:p>
                      <a:pPr>
                        <a:defRPr sz="900">
                          <a:latin typeface="Nexa Bold"/>
                        </a:defRPr>
                      </a:pPr>
                      <a:r>
                        <a:t>Preside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609">
                <a:tc>
                  <a:txBody>
                    <a:bodyPr/>
                    <a:lstStyle/>
                    <a:p>
                      <a:pPr>
                        <a:defRPr sz="900">
                          <a:latin typeface="Nexa Bold"/>
                        </a:defRPr>
                      </a:pPr>
                      <a: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2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609">
                <a:tc>
                  <a:txBody>
                    <a:bodyPr/>
                    <a:lstStyle/>
                    <a:p>
                      <a:pPr>
                        <a:defRPr sz="900">
                          <a:latin typeface="Nexa Bold"/>
                        </a:defRPr>
                      </a:pPr>
                      <a:r>
                        <a:t>So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609">
                <a:tc>
                  <a:txBody>
                    <a:bodyPr/>
                    <a:lstStyle/>
                    <a:p>
                      <a:pPr>
                        <a:defRPr sz="900">
                          <a:latin typeface="Nexa Bold"/>
                        </a:defRPr>
                      </a:pPr>
                      <a:r>
                        <a:t>Caprice Des Dieux</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609">
                <a:tc>
                  <a:txBody>
                    <a:bodyPr/>
                    <a:lstStyle/>
                    <a:p>
                      <a:pPr>
                        <a:defRPr sz="900">
                          <a:latin typeface="Nexa Bold"/>
                        </a:defRPr>
                      </a:pPr>
                      <a: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609">
                <a:tc>
                  <a:txBody>
                    <a:bodyPr/>
                    <a:lstStyle/>
                    <a:p>
                      <a:pPr>
                        <a:defRPr sz="900">
                          <a:latin typeface="Nexa Bold"/>
                        </a:defRPr>
                      </a:pPr>
                      <a: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609">
                <a:tc>
                  <a:txBody>
                    <a:bodyPr/>
                    <a:lstStyle/>
                    <a:p>
                      <a:pPr>
                        <a:defRPr sz="900">
                          <a:latin typeface="Nexa Bold"/>
                        </a:defRPr>
                      </a:pPr>
                      <a: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60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9/25/2025</a:t>
            </a:fld>
            <a:endParaRPr lang="en-US"/>
          </a:p>
        </p:txBody>
      </p:sp>
    </p:spTree>
    <p:extLst>
      <p:ext uri="{BB962C8B-B14F-4D97-AF65-F5344CB8AC3E}">
        <p14:creationId xmlns:p14="http://schemas.microsoft.com/office/powerpoint/2010/main" val="9217536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5342">
                <a:tc>
                  <a:txBody>
                    <a:bodyPr/>
                    <a:lstStyle/>
                    <a:p>
                      <a:pPr>
                        <a:defRPr sz="900">
                          <a:latin typeface="Nexa Bold"/>
                        </a:defRPr>
                      </a:pPr>
                      <a:r>
                        <a:t>Md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8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5342">
                <a:tc>
                  <a:txBody>
                    <a:bodyPr/>
                    <a:lstStyle/>
                    <a:p>
                      <a:pPr>
                        <a:defRPr sz="900">
                          <a:latin typeface="Nexa Bold"/>
                        </a:defRPr>
                      </a:pPr>
                      <a:r>
                        <a:t>Savenci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405342">
                <a:tc>
                  <a:txBody>
                    <a:bodyPr/>
                    <a:lstStyle/>
                    <a:p>
                      <a:pPr>
                        <a:defRPr sz="900">
                          <a:latin typeface="Nexa Bold"/>
                        </a:defRPr>
                      </a:pPr>
                      <a:r>
                        <a:t>Lactal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1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405342">
                <a:tc>
                  <a:txBody>
                    <a:bodyPr/>
                    <a:lstStyle/>
                    <a:p>
                      <a:pPr>
                        <a:defRPr sz="900">
                          <a:latin typeface="Nexa Bold"/>
                        </a:defRPr>
                      </a:pPr>
                      <a:r>
                        <a:t>Be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0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5342">
                <a:tc>
                  <a:txBody>
                    <a:bodyPr/>
                    <a:lstStyle/>
                    <a:p>
                      <a:pPr>
                        <a:defRPr sz="900">
                          <a:latin typeface="Nexa Bold"/>
                        </a:defRPr>
                      </a:pPr>
                      <a:r>
                        <a:t>Euri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2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405342">
                <a:tc>
                  <a:txBody>
                    <a:bodyPr/>
                    <a:lstStyle/>
                    <a:p>
                      <a:pPr>
                        <a:defRPr sz="900">
                          <a:latin typeface="Nexa Bold"/>
                        </a:defRPr>
                      </a:pPr>
                      <a:r>
                        <a:t>Casa Azzurr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3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405342">
                <a:tc>
                  <a:txBody>
                    <a:bodyPr/>
                    <a:lstStyle/>
                    <a:p>
                      <a:pPr>
                        <a:defRPr sz="900">
                          <a:latin typeface="Nexa Bold"/>
                        </a:defRPr>
                      </a:pPr>
                      <a:r>
                        <a:t>Lait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3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40534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4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2</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Total Fromage | Intermarch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Preside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So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Caprice Des Dieux</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9/25/2025</a:t>
            </a:fld>
            <a:endParaRPr lang="en-US"/>
          </a:p>
        </p:txBody>
      </p:sp>
    </p:spTree>
    <p:extLst>
      <p:ext uri="{BB962C8B-B14F-4D97-AF65-F5344CB8AC3E}">
        <p14:creationId xmlns:p14="http://schemas.microsoft.com/office/powerpoint/2010/main" val="382316126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tailer | Soft Cheese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Carrefou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291">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291">
                <a:tc>
                  <a:txBody>
                    <a:bodyPr/>
                    <a:lstStyle/>
                    <a:p>
                      <a:pPr>
                        <a:defRPr sz="900">
                          <a:latin typeface="Nexa Bold"/>
                        </a:defRPr>
                      </a:pPr>
                      <a:r>
                        <a:t>Preside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291">
                <a:tc>
                  <a:txBody>
                    <a:bodyPr/>
                    <a:lstStyle/>
                    <a:p>
                      <a:pPr>
                        <a:defRPr sz="900">
                          <a:latin typeface="Nexa Bold"/>
                        </a:defRPr>
                      </a:pPr>
                      <a: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291">
                <a:tc>
                  <a:txBody>
                    <a:bodyPr/>
                    <a:lstStyle/>
                    <a:p>
                      <a:pPr>
                        <a:defRPr sz="900">
                          <a:latin typeface="Nexa Bold"/>
                        </a:defRPr>
                      </a:pPr>
                      <a: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291">
                <a:tc>
                  <a:txBody>
                    <a:bodyPr/>
                    <a:lstStyle/>
                    <a:p>
                      <a:pPr>
                        <a:defRPr sz="900">
                          <a:latin typeface="Nexa Bold"/>
                        </a:defRPr>
                      </a:pPr>
                      <a:r>
                        <a:t>So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291">
                <a:tc>
                  <a:txBody>
                    <a:bodyPr/>
                    <a:lstStyle/>
                    <a:p>
                      <a:pPr>
                        <a:defRPr sz="900">
                          <a:latin typeface="Nexa Bold"/>
                        </a:defRPr>
                      </a:pPr>
                      <a:r>
                        <a:t>Caprice Des Dieux</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291">
                <a:tc>
                  <a:txBody>
                    <a:bodyPr/>
                    <a:lstStyle/>
                    <a:p>
                      <a:pPr>
                        <a:defRPr sz="900">
                          <a:latin typeface="Nexa Bold"/>
                        </a:defRPr>
                      </a:pPr>
                      <a: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291">
                <a:tc>
                  <a:txBody>
                    <a:bodyPr/>
                    <a:lstStyle/>
                    <a:p>
                      <a:pPr>
                        <a:defRPr sz="900">
                          <a:latin typeface="Nexa Bold"/>
                        </a:defRPr>
                      </a:pPr>
                      <a: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291">
                <a:tc>
                  <a:txBody>
                    <a:bodyPr/>
                    <a:lstStyle/>
                    <a:p>
                      <a:pPr>
                        <a:defRPr sz="900">
                          <a:latin typeface="Nexa Bold"/>
                        </a:defRPr>
                      </a:pPr>
                      <a: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29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Intermarch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609">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609">
                <a:tc>
                  <a:txBody>
                    <a:bodyPr/>
                    <a:lstStyle/>
                    <a:p>
                      <a:pPr>
                        <a:defRPr sz="900">
                          <a:latin typeface="Nexa Bold"/>
                        </a:defRPr>
                      </a:pPr>
                      <a: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609">
                <a:tc>
                  <a:txBody>
                    <a:bodyPr/>
                    <a:lstStyle/>
                    <a:p>
                      <a:pPr>
                        <a:defRPr sz="900">
                          <a:latin typeface="Nexa Bold"/>
                        </a:defRPr>
                      </a:pPr>
                      <a:r>
                        <a:t>Preside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609">
                <a:tc>
                  <a:txBody>
                    <a:bodyPr/>
                    <a:lstStyle/>
                    <a:p>
                      <a:pPr>
                        <a:defRPr sz="900">
                          <a:latin typeface="Nexa Bold"/>
                        </a:defRPr>
                      </a:pPr>
                      <a: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609">
                <a:tc>
                  <a:txBody>
                    <a:bodyPr/>
                    <a:lstStyle/>
                    <a:p>
                      <a:pPr>
                        <a:defRPr sz="900">
                          <a:latin typeface="Nexa Bold"/>
                        </a:defRPr>
                      </a:pPr>
                      <a:r>
                        <a:t>So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609">
                <a:tc>
                  <a:txBody>
                    <a:bodyPr/>
                    <a:lstStyle/>
                    <a:p>
                      <a:pPr>
                        <a:defRPr sz="900">
                          <a:latin typeface="Nexa Bold"/>
                        </a:defRPr>
                      </a:pPr>
                      <a:r>
                        <a:t>Caprice Des Dieux</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609">
                <a:tc>
                  <a:txBody>
                    <a:bodyPr/>
                    <a:lstStyle/>
                    <a:p>
                      <a:pPr>
                        <a:defRPr sz="900">
                          <a:latin typeface="Nexa Bold"/>
                        </a:defRPr>
                      </a:pPr>
                      <a: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609">
                <a:tc>
                  <a:txBody>
                    <a:bodyPr/>
                    <a:lstStyle/>
                    <a:p>
                      <a:pPr>
                        <a:defRPr sz="900">
                          <a:latin typeface="Nexa Bold"/>
                        </a:defRPr>
                      </a:pPr>
                      <a: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609">
                <a:tc>
                  <a:txBody>
                    <a:bodyPr/>
                    <a:lstStyle/>
                    <a:p>
                      <a:pPr>
                        <a:defRPr sz="900">
                          <a:latin typeface="Nexa Bold"/>
                        </a:defRPr>
                      </a:pPr>
                      <a: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60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9/25/2025</a:t>
            </a:fld>
            <a:endParaRPr lang="en-US"/>
          </a:p>
        </p:txBody>
      </p:sp>
    </p:spTree>
    <p:extLst>
      <p:ext uri="{BB962C8B-B14F-4D97-AF65-F5344CB8AC3E}">
        <p14:creationId xmlns:p14="http://schemas.microsoft.com/office/powerpoint/2010/main" val="249596734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tailer | Aperitif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17"/>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Carrefou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6613">
                <a:tc>
                  <a:txBody>
                    <a:bodyPr/>
                    <a:lstStyle/>
                    <a:p>
                      <a:pPr>
                        <a:defRPr sz="900">
                          <a:latin typeface="Nexa Bold"/>
                        </a:defRPr>
                      </a:pPr>
                      <a:r>
                        <a:t>Apericub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6613">
                <a:tc>
                  <a:txBody>
                    <a:bodyPr/>
                    <a:lstStyle/>
                    <a:p>
                      <a:pPr>
                        <a:defRPr sz="900">
                          <a:latin typeface="Nexa Bold"/>
                        </a:defRPr>
                      </a:pPr>
                      <a:r>
                        <a:t>Aperivra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6613">
                <a:tc>
                  <a:txBody>
                    <a:bodyPr/>
                    <a:lstStyle/>
                    <a:p>
                      <a:pPr>
                        <a:defRPr sz="900">
                          <a:latin typeface="Nexa Bold"/>
                        </a:defRPr>
                      </a:pPr>
                      <a: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6613">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6613">
                <a:tc>
                  <a:txBody>
                    <a:bodyPr/>
                    <a:lstStyle/>
                    <a:p>
                      <a:pPr>
                        <a:defRPr sz="900">
                          <a:latin typeface="Nexa Bold"/>
                        </a:defRPr>
                      </a:pPr>
                      <a: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6613">
                <a:tc>
                  <a:txBody>
                    <a:bodyPr/>
                    <a:lstStyle/>
                    <a:p>
                      <a:pPr>
                        <a:defRPr sz="900">
                          <a:latin typeface="Nexa Bold"/>
                        </a:defRPr>
                      </a:pPr>
                      <a:r>
                        <a:t>O'Tapas Ape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6613">
                <a:tc>
                  <a:txBody>
                    <a:bodyPr/>
                    <a:lstStyle/>
                    <a:p>
                      <a:pPr>
                        <a:defRPr sz="900">
                          <a:latin typeface="Nexa Bold"/>
                        </a:defRPr>
                      </a:pPr>
                      <a:r>
                        <a:t>Leerdamm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661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19"/>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Intermarch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2681">
                <a:tc>
                  <a:txBody>
                    <a:bodyPr/>
                    <a:lstStyle/>
                    <a:p>
                      <a:pPr>
                        <a:defRPr sz="900">
                          <a:latin typeface="Nexa Bold"/>
                        </a:defRPr>
                      </a:pPr>
                      <a:r>
                        <a:t>Apericub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2681">
                <a:tc>
                  <a:txBody>
                    <a:bodyPr/>
                    <a:lstStyle/>
                    <a:p>
                      <a:pPr>
                        <a:defRPr sz="900">
                          <a:latin typeface="Nexa Bold"/>
                        </a:defRPr>
                      </a:pPr>
                      <a:r>
                        <a:t>Aperivra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2681">
                <a:tc>
                  <a:txBody>
                    <a:bodyPr/>
                    <a:lstStyle/>
                    <a:p>
                      <a:pPr>
                        <a:defRPr sz="900">
                          <a:latin typeface="Nexa Bold"/>
                        </a:defRPr>
                      </a:pPr>
                      <a: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2681">
                <a:tc>
                  <a:txBody>
                    <a:bodyPr/>
                    <a:lstStyle/>
                    <a:p>
                      <a:pPr>
                        <a:defRPr sz="900">
                          <a:latin typeface="Nexa Bold"/>
                        </a:defRPr>
                      </a:pPr>
                      <a: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2681">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268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9/25/2025</a:t>
            </a:fld>
            <a:endParaRPr lang="en-US"/>
          </a:p>
        </p:txBody>
      </p:sp>
    </p:spTree>
    <p:extLst>
      <p:ext uri="{BB962C8B-B14F-4D97-AF65-F5344CB8AC3E}">
        <p14:creationId xmlns:p14="http://schemas.microsoft.com/office/powerpoint/2010/main" val="185689051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tailer | Enfant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20"/>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Carrefou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4701">
                <a:tc>
                  <a:txBody>
                    <a:bodyPr/>
                    <a:lstStyle/>
                    <a:p>
                      <a:pPr>
                        <a:defRPr sz="900">
                          <a:latin typeface="Nexa Bold"/>
                        </a:defRPr>
                      </a:pPr>
                      <a: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4701">
                <a:tc>
                  <a:txBody>
                    <a:bodyPr/>
                    <a:lstStyle/>
                    <a:p>
                      <a:pPr>
                        <a:defRPr sz="900">
                          <a:latin typeface="Nexa Bold"/>
                        </a:defRPr>
                      </a:pPr>
                      <a:r>
                        <a:t>Mini Baby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4701">
                <a:tc>
                  <a:txBody>
                    <a:bodyPr/>
                    <a:lstStyle/>
                    <a:p>
                      <a:pPr>
                        <a:defRPr sz="900">
                          <a:latin typeface="Nexa Bold"/>
                        </a:defRPr>
                      </a:pPr>
                      <a: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4701">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4701">
                <a:tc>
                  <a:txBody>
                    <a:bodyPr/>
                    <a:lstStyle/>
                    <a:p>
                      <a:pPr>
                        <a:defRPr sz="900">
                          <a:latin typeface="Nexa Bold"/>
                        </a:defRPr>
                      </a:pPr>
                      <a:r>
                        <a:t>Ficel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4701">
                <a:tc>
                  <a:txBody>
                    <a:bodyPr/>
                    <a:lstStyle/>
                    <a:p>
                      <a:pPr>
                        <a:defRPr sz="900">
                          <a:latin typeface="Nexa Bold"/>
                        </a:defRPr>
                      </a:pPr>
                      <a:r>
                        <a:t>P'Tit Lou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470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Intermarch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5155">
                <a:tc>
                  <a:txBody>
                    <a:bodyPr/>
                    <a:lstStyle/>
                    <a:p>
                      <a:pPr>
                        <a:defRPr sz="900">
                          <a:latin typeface="Nexa Bold"/>
                        </a:defRPr>
                      </a:pPr>
                      <a: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5155">
                <a:tc>
                  <a:txBody>
                    <a:bodyPr/>
                    <a:lstStyle/>
                    <a:p>
                      <a:pPr>
                        <a:defRPr sz="900">
                          <a:latin typeface="Nexa Bold"/>
                        </a:defRPr>
                      </a:pPr>
                      <a:r>
                        <a:t>Mini Baby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5155">
                <a:tc>
                  <a:txBody>
                    <a:bodyPr/>
                    <a:lstStyle/>
                    <a:p>
                      <a:pPr>
                        <a:defRPr sz="900">
                          <a:latin typeface="Nexa Bold"/>
                        </a:defRPr>
                      </a:pPr>
                      <a: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5155">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5155">
                <a:tc>
                  <a:txBody>
                    <a:bodyPr/>
                    <a:lstStyle/>
                    <a:p>
                      <a:pPr>
                        <a:defRPr sz="900">
                          <a:latin typeface="Nexa Bold"/>
                        </a:defRPr>
                      </a:pPr>
                      <a:r>
                        <a:t>Ficel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5155">
                <a:tc>
                  <a:txBody>
                    <a:bodyPr/>
                    <a:lstStyle/>
                    <a:p>
                      <a:pPr>
                        <a:defRPr sz="900">
                          <a:latin typeface="Nexa Bold"/>
                        </a:defRPr>
                      </a:pPr>
                      <a:r>
                        <a:t>P'Tit Lou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515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9/25/2025</a:t>
            </a:fld>
            <a:endParaRPr lang="en-US"/>
          </a:p>
        </p:txBody>
      </p:sp>
    </p:spTree>
    <p:extLst>
      <p:ext uri="{BB962C8B-B14F-4D97-AF65-F5344CB8AC3E}">
        <p14:creationId xmlns:p14="http://schemas.microsoft.com/office/powerpoint/2010/main" val="191071716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tailer | Frais A Tartiner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Carrefou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291">
                <a:tc>
                  <a:txBody>
                    <a:bodyPr/>
                    <a:lstStyle/>
                    <a:p>
                      <a:pPr>
                        <a:defRPr sz="900">
                          <a:latin typeface="Nexa Bold"/>
                        </a:defRPr>
                      </a:pPr>
                      <a: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291">
                <a:tc>
                  <a:txBody>
                    <a:bodyPr/>
                    <a:lstStyle/>
                    <a:p>
                      <a:pPr>
                        <a:defRPr sz="900">
                          <a:latin typeface="Nexa Bold"/>
                        </a:defRPr>
                      </a:pPr>
                      <a:r>
                        <a:t>Paysan Bret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291">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291">
                <a:tc>
                  <a:txBody>
                    <a:bodyPr/>
                    <a:lstStyle/>
                    <a:p>
                      <a:pPr>
                        <a:defRPr sz="900">
                          <a:latin typeface="Nexa Bold"/>
                        </a:defRPr>
                      </a:pPr>
                      <a:r>
                        <a:t>Tart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291">
                <a:tc>
                  <a:txBody>
                    <a:bodyPr/>
                    <a:lstStyle/>
                    <a:p>
                      <a:pPr>
                        <a:defRPr sz="900">
                          <a:latin typeface="Nexa Bold"/>
                        </a:defRPr>
                      </a:pPr>
                      <a: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291">
                <a:tc>
                  <a:txBody>
                    <a:bodyPr/>
                    <a:lstStyle/>
                    <a:p>
                      <a:pPr>
                        <a:defRPr sz="900">
                          <a:latin typeface="Nexa Bold"/>
                        </a:defRPr>
                      </a:pPr>
                      <a:r>
                        <a:t>Carre Fra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291">
                <a:tc>
                  <a:txBody>
                    <a:bodyPr/>
                    <a:lstStyle/>
                    <a:p>
                      <a:pPr>
                        <a:defRPr sz="900">
                          <a:latin typeface="Nexa Bold"/>
                        </a:defRPr>
                      </a:pPr>
                      <a:r>
                        <a:t>Philadelph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291">
                <a:tc>
                  <a:txBody>
                    <a:bodyPr/>
                    <a:lstStyle/>
                    <a:p>
                      <a:pPr>
                        <a:defRPr sz="900">
                          <a:latin typeface="Nexa Bold"/>
                        </a:defRPr>
                      </a:pPr>
                      <a: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291">
                <a:tc>
                  <a:txBody>
                    <a:bodyPr/>
                    <a:lstStyle/>
                    <a:p>
                      <a:pPr>
                        <a:defRPr sz="900">
                          <a:latin typeface="Nexa Bold"/>
                        </a:defRPr>
                      </a:pPr>
                      <a: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29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16"/>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Intermarch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1787">
                <a:tc>
                  <a:txBody>
                    <a:bodyPr/>
                    <a:lstStyle/>
                    <a:p>
                      <a:pPr>
                        <a:defRPr sz="900">
                          <a:latin typeface="Nexa Bold"/>
                        </a:defRPr>
                      </a:pPr>
                      <a: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1787">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1787">
                <a:tc>
                  <a:txBody>
                    <a:bodyPr/>
                    <a:lstStyle/>
                    <a:p>
                      <a:pPr>
                        <a:defRPr sz="900">
                          <a:latin typeface="Nexa Bold"/>
                        </a:defRPr>
                      </a:pPr>
                      <a:r>
                        <a:t>Paysan Bret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1787">
                <a:tc>
                  <a:txBody>
                    <a:bodyPr/>
                    <a:lstStyle/>
                    <a:p>
                      <a:pPr>
                        <a:defRPr sz="900">
                          <a:latin typeface="Nexa Bold"/>
                        </a:defRPr>
                      </a:pPr>
                      <a: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1787">
                <a:tc>
                  <a:txBody>
                    <a:bodyPr/>
                    <a:lstStyle/>
                    <a:p>
                      <a:pPr>
                        <a:defRPr sz="900">
                          <a:latin typeface="Nexa Bold"/>
                        </a:defRPr>
                      </a:pPr>
                      <a:r>
                        <a:t>Tart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1787">
                <a:tc>
                  <a:txBody>
                    <a:bodyPr/>
                    <a:lstStyle/>
                    <a:p>
                      <a:pPr>
                        <a:defRPr sz="900">
                          <a:latin typeface="Nexa Bold"/>
                        </a:defRPr>
                      </a:pPr>
                      <a:r>
                        <a:t>Carre Fra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1787">
                <a:tc>
                  <a:txBody>
                    <a:bodyPr/>
                    <a:lstStyle/>
                    <a:p>
                      <a:pPr>
                        <a:defRPr sz="900">
                          <a:latin typeface="Nexa Bold"/>
                        </a:defRPr>
                      </a:pPr>
                      <a:r>
                        <a:t>Philadelph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1787">
                <a:tc>
                  <a:txBody>
                    <a:bodyPr/>
                    <a:lstStyle/>
                    <a:p>
                      <a:pPr>
                        <a:defRPr sz="900">
                          <a:latin typeface="Nexa Bold"/>
                        </a:defRPr>
                      </a:pPr>
                      <a: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1787">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9/25/2025</a:t>
            </a:fld>
            <a:endParaRPr lang="en-US"/>
          </a:p>
        </p:txBody>
      </p:sp>
    </p:spTree>
    <p:extLst>
      <p:ext uri="{BB962C8B-B14F-4D97-AF65-F5344CB8AC3E}">
        <p14:creationId xmlns:p14="http://schemas.microsoft.com/office/powerpoint/2010/main" val="289431014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Retailer | Salade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20"/>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Carrefou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4701">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4701">
                <a:tc>
                  <a:txBody>
                    <a:bodyPr/>
                    <a:lstStyle/>
                    <a:p>
                      <a:pPr>
                        <a:defRPr sz="900">
                          <a:latin typeface="Nexa Bold"/>
                        </a:defRPr>
                      </a:pPr>
                      <a: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4701">
                <a:tc>
                  <a:txBody>
                    <a:bodyPr/>
                    <a:lstStyle/>
                    <a:p>
                      <a:pPr>
                        <a:defRPr sz="900">
                          <a:latin typeface="Nexa Bold"/>
                        </a:defRPr>
                      </a:pPr>
                      <a:r>
                        <a:t>Casa Azzur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4701">
                <a:tc>
                  <a:txBody>
                    <a:bodyPr/>
                    <a:lstStyle/>
                    <a:p>
                      <a:pPr>
                        <a:defRPr sz="900">
                          <a:latin typeface="Nexa Bold"/>
                        </a:defRPr>
                      </a:pPr>
                      <a:r>
                        <a:t>Salak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4701">
                <a:tc>
                  <a:txBody>
                    <a:bodyPr/>
                    <a:lstStyle/>
                    <a:p>
                      <a:pPr>
                        <a:defRPr sz="900">
                          <a:latin typeface="Nexa Bold"/>
                        </a:defRPr>
                      </a:pPr>
                      <a:r>
                        <a:t>Islo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4701">
                <a:tc>
                  <a:txBody>
                    <a:bodyPr/>
                    <a:lstStyle/>
                    <a:p>
                      <a:pPr>
                        <a:defRPr sz="900">
                          <a:latin typeface="Nexa Bold"/>
                        </a:defRPr>
                      </a:pPr>
                      <a: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470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1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Intermarch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5155">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5155">
                <a:tc>
                  <a:txBody>
                    <a:bodyPr/>
                    <a:lstStyle/>
                    <a:p>
                      <a:pPr>
                        <a:defRPr sz="900">
                          <a:latin typeface="Nexa Bold"/>
                        </a:defRPr>
                      </a:pPr>
                      <a: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5155">
                <a:tc>
                  <a:txBody>
                    <a:bodyPr/>
                    <a:lstStyle/>
                    <a:p>
                      <a:pPr>
                        <a:defRPr sz="900">
                          <a:latin typeface="Nexa Bold"/>
                        </a:defRPr>
                      </a:pPr>
                      <a:r>
                        <a:t>Salak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5155">
                <a:tc>
                  <a:txBody>
                    <a:bodyPr/>
                    <a:lstStyle/>
                    <a:p>
                      <a:pPr>
                        <a:defRPr sz="900">
                          <a:latin typeface="Nexa Bold"/>
                        </a:defRPr>
                      </a:pPr>
                      <a:r>
                        <a:t>Casa Azzur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5155">
                <a:tc>
                  <a:txBody>
                    <a:bodyPr/>
                    <a:lstStyle/>
                    <a:p>
                      <a:pPr>
                        <a:defRPr sz="900">
                          <a:latin typeface="Nexa Bold"/>
                        </a:defRPr>
                      </a:pPr>
                      <a:r>
                        <a:t>Islo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5155">
                <a:tc>
                  <a:txBody>
                    <a:bodyPr/>
                    <a:lstStyle/>
                    <a:p>
                      <a:pPr>
                        <a:defRPr sz="900">
                          <a:latin typeface="Nexa Bold"/>
                        </a:defRPr>
                      </a:pPr>
                      <a: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5155">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9/25/2025</a:t>
            </a:fld>
            <a:endParaRPr lang="en-US"/>
          </a:p>
        </p:txBody>
      </p:sp>
    </p:spTree>
    <p:extLst>
      <p:ext uri="{BB962C8B-B14F-4D97-AF65-F5344CB8AC3E}">
        <p14:creationId xmlns:p14="http://schemas.microsoft.com/office/powerpoint/2010/main" val="21144025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Carrefour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19"/>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Soft Chees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1434">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1434">
                <a:tc>
                  <a:txBody>
                    <a:bodyPr/>
                    <a:lstStyle/>
                    <a:p>
                      <a:pPr>
                        <a:defRPr sz="900">
                          <a:latin typeface="Nexa Bold"/>
                        </a:defRPr>
                      </a:pPr>
                      <a: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1434">
                <a:tc>
                  <a:txBody>
                    <a:bodyPr/>
                    <a:lstStyle/>
                    <a:p>
                      <a:pPr>
                        <a:defRPr sz="900">
                          <a:latin typeface="Nexa Bold"/>
                        </a:defRPr>
                      </a:pPr>
                      <a:r>
                        <a:t>Lactal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1434">
                <a:tc>
                  <a:txBody>
                    <a:bodyPr/>
                    <a:lstStyle/>
                    <a:p>
                      <a:pPr>
                        <a:defRPr sz="900">
                          <a:latin typeface="Nexa Bold"/>
                        </a:defRPr>
                      </a:pPr>
                      <a: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1434">
                <a:tc>
                  <a:txBody>
                    <a:bodyPr/>
                    <a:lstStyle/>
                    <a:p>
                      <a:pPr>
                        <a:defRPr sz="900">
                          <a:latin typeface="Nexa Bold"/>
                        </a:defRPr>
                      </a:pPr>
                      <a:r>
                        <a:t>Euri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1434">
                <a:tc>
                  <a:txBody>
                    <a:bodyPr/>
                    <a:lstStyle/>
                    <a:p>
                      <a:pPr>
                        <a:defRPr sz="900">
                          <a:latin typeface="Nexa Bold"/>
                        </a:defRPr>
                      </a:pPr>
                      <a:r>
                        <a:t>Casa Azzur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1434">
                <a:tc>
                  <a:txBody>
                    <a:bodyPr/>
                    <a:lstStyle/>
                    <a:p>
                      <a:pPr>
                        <a:defRPr sz="900">
                          <a:latin typeface="Nexa Bold"/>
                        </a:defRPr>
                      </a:pPr>
                      <a:r>
                        <a:t>Lait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1434">
                <a:tc>
                  <a:txBody>
                    <a:bodyPr/>
                    <a:lstStyle/>
                    <a:p>
                      <a:pPr>
                        <a:defRPr sz="900">
                          <a:latin typeface="Nexa Bold"/>
                        </a:defRPr>
                      </a:pPr>
                      <a:r>
                        <a:t>Ker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143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Aperitif</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1218">
                <a:tc>
                  <a:txBody>
                    <a:bodyPr/>
                    <a:lstStyle/>
                    <a:p>
                      <a:pPr>
                        <a:defRPr sz="900">
                          <a:latin typeface="Nexa Bold"/>
                        </a:defRPr>
                      </a:pPr>
                      <a: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6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1218">
                <a:tc>
                  <a:txBody>
                    <a:bodyPr/>
                    <a:lstStyle/>
                    <a:p>
                      <a:pPr>
                        <a:defRPr sz="900">
                          <a:latin typeface="Nexa Bold"/>
                        </a:defRPr>
                      </a:pPr>
                      <a: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1218">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1218">
                <a:tc>
                  <a:txBody>
                    <a:bodyPr/>
                    <a:lstStyle/>
                    <a:p>
                      <a:pPr>
                        <a:defRPr sz="900">
                          <a:latin typeface="Nexa Bold"/>
                        </a:defRPr>
                      </a:pPr>
                      <a:r>
                        <a:t>Lactal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6.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121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9/25/2025</a:t>
            </a:fld>
            <a:endParaRPr lang="en-US"/>
          </a:p>
        </p:txBody>
      </p:sp>
    </p:spTree>
    <p:extLst>
      <p:ext uri="{BB962C8B-B14F-4D97-AF65-F5344CB8AC3E}">
        <p14:creationId xmlns:p14="http://schemas.microsoft.com/office/powerpoint/2010/main" val="127170077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Intermarche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17"/>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Soft Chees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6613">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6613">
                <a:tc>
                  <a:txBody>
                    <a:bodyPr/>
                    <a:lstStyle/>
                    <a:p>
                      <a:pPr>
                        <a:defRPr sz="900">
                          <a:latin typeface="Nexa Bold"/>
                        </a:defRPr>
                      </a:pPr>
                      <a: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0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6613">
                <a:tc>
                  <a:txBody>
                    <a:bodyPr/>
                    <a:lstStyle/>
                    <a:p>
                      <a:pPr>
                        <a:defRPr sz="900">
                          <a:latin typeface="Nexa Bold"/>
                        </a:defRPr>
                      </a:pPr>
                      <a:r>
                        <a:t>Lactal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6613">
                <a:tc>
                  <a:txBody>
                    <a:bodyPr/>
                    <a:lstStyle/>
                    <a:p>
                      <a:pPr>
                        <a:defRPr sz="900">
                          <a:latin typeface="Nexa Bold"/>
                        </a:defRPr>
                      </a:pPr>
                      <a: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6613">
                <a:tc>
                  <a:txBody>
                    <a:bodyPr/>
                    <a:lstStyle/>
                    <a:p>
                      <a:pPr>
                        <a:defRPr sz="900">
                          <a:latin typeface="Nexa Bold"/>
                        </a:defRPr>
                      </a:pPr>
                      <a:r>
                        <a:t>Euri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6613">
                <a:tc>
                  <a:txBody>
                    <a:bodyPr/>
                    <a:lstStyle/>
                    <a:p>
                      <a:pPr>
                        <a:defRPr sz="900">
                          <a:latin typeface="Nexa Bold"/>
                        </a:defRPr>
                      </a:pPr>
                      <a:r>
                        <a:t>Casa Azzur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6613">
                <a:tc>
                  <a:txBody>
                    <a:bodyPr/>
                    <a:lstStyle/>
                    <a:p>
                      <a:pPr>
                        <a:defRPr sz="900">
                          <a:latin typeface="Nexa Bold"/>
                        </a:defRPr>
                      </a:pPr>
                      <a:r>
                        <a:t>Lait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661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Aperitif</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814022">
                <a:tc>
                  <a:txBody>
                    <a:bodyPr/>
                    <a:lstStyle/>
                    <a:p>
                      <a:pPr>
                        <a:defRPr sz="900">
                          <a:latin typeface="Nexa Bold"/>
                        </a:defRPr>
                      </a:pPr>
                      <a: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814022">
                <a:tc>
                  <a:txBody>
                    <a:bodyPr/>
                    <a:lstStyle/>
                    <a:p>
                      <a:pPr>
                        <a:defRPr sz="900">
                          <a:latin typeface="Nexa Bold"/>
                        </a:defRPr>
                      </a:pPr>
                      <a: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814022">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81402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9/25/2025</a:t>
            </a:fld>
            <a:endParaRPr lang="en-US"/>
          </a:p>
        </p:txBody>
      </p:sp>
    </p:spTree>
    <p:extLst>
      <p:ext uri="{BB962C8B-B14F-4D97-AF65-F5344CB8AC3E}">
        <p14:creationId xmlns:p14="http://schemas.microsoft.com/office/powerpoint/2010/main" val="147041851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ctor | Carrefour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Soft Chees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291">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9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291">
                <a:tc>
                  <a:txBody>
                    <a:bodyPr/>
                    <a:lstStyle/>
                    <a:p>
                      <a:pPr>
                        <a:defRPr sz="900">
                          <a:latin typeface="Nexa Bold"/>
                        </a:defRPr>
                      </a:pPr>
                      <a:r>
                        <a:t>Preside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4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291">
                <a:tc>
                  <a:txBody>
                    <a:bodyPr/>
                    <a:lstStyle/>
                    <a:p>
                      <a:pPr>
                        <a:defRPr sz="900">
                          <a:latin typeface="Nexa Bold"/>
                        </a:defRPr>
                      </a:pPr>
                      <a: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291">
                <a:tc>
                  <a:txBody>
                    <a:bodyPr/>
                    <a:lstStyle/>
                    <a:p>
                      <a:pPr>
                        <a:defRPr sz="900">
                          <a:latin typeface="Nexa Bold"/>
                        </a:defRPr>
                      </a:pPr>
                      <a: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291">
                <a:tc>
                  <a:txBody>
                    <a:bodyPr/>
                    <a:lstStyle/>
                    <a:p>
                      <a:pPr>
                        <a:defRPr sz="900">
                          <a:latin typeface="Nexa Bold"/>
                        </a:defRPr>
                      </a:pPr>
                      <a:r>
                        <a:t>So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7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291">
                <a:tc>
                  <a:txBody>
                    <a:bodyPr/>
                    <a:lstStyle/>
                    <a:p>
                      <a:pPr>
                        <a:defRPr sz="900">
                          <a:latin typeface="Nexa Bold"/>
                        </a:defRPr>
                      </a:pPr>
                      <a:r>
                        <a:t>Caprice Des Dieux</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291">
                <a:tc>
                  <a:txBody>
                    <a:bodyPr/>
                    <a:lstStyle/>
                    <a:p>
                      <a:pPr>
                        <a:defRPr sz="900">
                          <a:latin typeface="Nexa Bold"/>
                        </a:defRPr>
                      </a:pPr>
                      <a: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291">
                <a:tc>
                  <a:txBody>
                    <a:bodyPr/>
                    <a:lstStyle/>
                    <a:p>
                      <a:pPr>
                        <a:defRPr sz="900">
                          <a:latin typeface="Nexa Bold"/>
                        </a:defRPr>
                      </a:pPr>
                      <a: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291">
                <a:tc>
                  <a:txBody>
                    <a:bodyPr/>
                    <a:lstStyle/>
                    <a:p>
                      <a:pPr>
                        <a:defRPr sz="900">
                          <a:latin typeface="Nexa Bold"/>
                        </a:defRPr>
                      </a:pPr>
                      <a: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29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0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Aperitif</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7011">
                <a:tc>
                  <a:txBody>
                    <a:bodyPr/>
                    <a:lstStyle/>
                    <a:p>
                      <a:pPr>
                        <a:defRPr sz="900">
                          <a:latin typeface="Nexa Bold"/>
                        </a:defRPr>
                      </a:pPr>
                      <a:r>
                        <a:t>Apericub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407011">
                <a:tc>
                  <a:txBody>
                    <a:bodyPr/>
                    <a:lstStyle/>
                    <a:p>
                      <a:pPr>
                        <a:defRPr sz="900">
                          <a:latin typeface="Nexa Bold"/>
                        </a:defRPr>
                      </a:pPr>
                      <a:r>
                        <a:t>Aperivra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07011">
                <a:tc>
                  <a:txBody>
                    <a:bodyPr/>
                    <a:lstStyle/>
                    <a:p>
                      <a:pPr>
                        <a:defRPr sz="900">
                          <a:latin typeface="Nexa Bold"/>
                        </a:defRPr>
                      </a:pPr>
                      <a: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7011">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1.3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7011">
                <a:tc>
                  <a:txBody>
                    <a:bodyPr/>
                    <a:lstStyle/>
                    <a:p>
                      <a:pPr>
                        <a:defRPr sz="900">
                          <a:latin typeface="Nexa Bold"/>
                        </a:defRPr>
                      </a:pPr>
                      <a: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07011">
                <a:tc>
                  <a:txBody>
                    <a:bodyPr/>
                    <a:lstStyle/>
                    <a:p>
                      <a:pPr>
                        <a:defRPr sz="900">
                          <a:latin typeface="Nexa Bold"/>
                        </a:defRPr>
                      </a:pPr>
                      <a:r>
                        <a:t>O'Tapas Ape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3.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07011">
                <a:tc>
                  <a:txBody>
                    <a:bodyPr/>
                    <a:lstStyle/>
                    <a:p>
                      <a:pPr>
                        <a:defRPr sz="900">
                          <a:latin typeface="Nexa Bold"/>
                        </a:defRPr>
                      </a:pPr>
                      <a:r>
                        <a:t>Leerdamm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41.8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0701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8.9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9/25/2025</a:t>
            </a:fld>
            <a:endParaRPr lang="en-US"/>
          </a:p>
        </p:txBody>
      </p:sp>
    </p:spTree>
    <p:extLst>
      <p:ext uri="{BB962C8B-B14F-4D97-AF65-F5344CB8AC3E}">
        <p14:creationId xmlns:p14="http://schemas.microsoft.com/office/powerpoint/2010/main" val="82512865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ctor | Intermarche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pPr algn="ctr">
                        <a:defRPr sz="800">
                          <a:solidFill>
                            <a:srgbClr val="575555"/>
                          </a:solidFill>
                          <a:latin typeface="Nexa Bold"/>
                        </a:defRPr>
                      </a:pPr>
                      <a:r>
                        <a:t>Soft Chees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291">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291">
                <a:tc>
                  <a:txBody>
                    <a:bodyPr/>
                    <a:lstStyle/>
                    <a:p>
                      <a:pPr>
                        <a:defRPr sz="900">
                          <a:latin typeface="Nexa Bold"/>
                        </a:defRPr>
                      </a:pPr>
                      <a: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291">
                <a:tc>
                  <a:txBody>
                    <a:bodyPr/>
                    <a:lstStyle/>
                    <a:p>
                      <a:pPr>
                        <a:defRPr sz="900">
                          <a:latin typeface="Nexa Bold"/>
                        </a:defRPr>
                      </a:pPr>
                      <a:r>
                        <a:t>Preside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9.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291">
                <a:tc>
                  <a:txBody>
                    <a:bodyPr/>
                    <a:lstStyle/>
                    <a:p>
                      <a:pPr>
                        <a:defRPr sz="900">
                          <a:latin typeface="Nexa Bold"/>
                        </a:defRPr>
                      </a:pPr>
                      <a: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291">
                <a:tc>
                  <a:txBody>
                    <a:bodyPr/>
                    <a:lstStyle/>
                    <a:p>
                      <a:pPr>
                        <a:defRPr sz="900">
                          <a:latin typeface="Nexa Bold"/>
                        </a:defRPr>
                      </a:pPr>
                      <a:r>
                        <a:t>So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291">
                <a:tc>
                  <a:txBody>
                    <a:bodyPr/>
                    <a:lstStyle/>
                    <a:p>
                      <a:pPr>
                        <a:defRPr sz="900">
                          <a:latin typeface="Nexa Bold"/>
                        </a:defRPr>
                      </a:pPr>
                      <a:r>
                        <a:t>Caprice Des Dieux</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291">
                <a:tc>
                  <a:txBody>
                    <a:bodyPr/>
                    <a:lstStyle/>
                    <a:p>
                      <a:pPr>
                        <a:defRPr sz="900">
                          <a:latin typeface="Nexa Bold"/>
                        </a:defRPr>
                      </a:pPr>
                      <a: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291">
                <a:tc>
                  <a:txBody>
                    <a:bodyPr/>
                    <a:lstStyle/>
                    <a:p>
                      <a:pPr>
                        <a:defRPr sz="900">
                          <a:latin typeface="Nexa Bold"/>
                        </a:defRPr>
                      </a:pPr>
                      <a: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291">
                <a:tc>
                  <a:txBody>
                    <a:bodyPr/>
                    <a:lstStyle/>
                    <a:p>
                      <a:pPr>
                        <a:defRPr sz="900">
                          <a:latin typeface="Nexa Bold"/>
                        </a:defRPr>
                      </a:pPr>
                      <a: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29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2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21019"/>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pPr algn="ctr">
                        <a:defRPr sz="800">
                          <a:solidFill>
                            <a:srgbClr val="575555"/>
                          </a:solidFill>
                          <a:latin typeface="Nexa Bold"/>
                        </a:defRPr>
                      </a:pPr>
                      <a:r>
                        <a:t>Aperitif</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2681">
                <a:tc>
                  <a:txBody>
                    <a:bodyPr/>
                    <a:lstStyle/>
                    <a:p>
                      <a:pPr>
                        <a:defRPr sz="900">
                          <a:latin typeface="Nexa Bold"/>
                        </a:defRPr>
                      </a:pPr>
                      <a:r>
                        <a:t>Apericub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2681">
                <a:tc>
                  <a:txBody>
                    <a:bodyPr/>
                    <a:lstStyle/>
                    <a:p>
                      <a:pPr>
                        <a:defRPr sz="900">
                          <a:latin typeface="Nexa Bold"/>
                        </a:defRPr>
                      </a:pPr>
                      <a:r>
                        <a:t>Aperivra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1.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2681">
                <a:tc>
                  <a:txBody>
                    <a:bodyPr/>
                    <a:lstStyle/>
                    <a:p>
                      <a:pPr>
                        <a:defRPr sz="900">
                          <a:latin typeface="Nexa Bold"/>
                        </a:defRPr>
                      </a:pPr>
                      <a: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5.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2681">
                <a:tc>
                  <a:txBody>
                    <a:bodyPr/>
                    <a:lstStyle/>
                    <a:p>
                      <a:pPr>
                        <a:defRPr sz="900">
                          <a:latin typeface="Nexa Bold"/>
                        </a:defRPr>
                      </a:pPr>
                      <a: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6.9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2681">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268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32.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9/25/2025</a:t>
            </a:fld>
            <a:endParaRPr lang="en-US"/>
          </a:p>
        </p:txBody>
      </p:sp>
    </p:spTree>
    <p:extLst>
      <p:ext uri="{BB962C8B-B14F-4D97-AF65-F5344CB8AC3E}">
        <p14:creationId xmlns:p14="http://schemas.microsoft.com/office/powerpoint/2010/main" val="197535661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gment | Carrefour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Enfan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921">
                <a:tc>
                  <a:txBody>
                    <a:bodyPr/>
                    <a:lstStyle/>
                    <a:p>
                      <a:pPr>
                        <a:defRPr sz="900">
                          <a:latin typeface="Nexa Bold"/>
                        </a:defRPr>
                      </a:pPr>
                      <a: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5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921">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921">
                <a:tc>
                  <a:txBody>
                    <a:bodyPr/>
                    <a:lstStyle/>
                    <a:p>
                      <a:pPr>
                        <a:defRPr sz="900">
                          <a:latin typeface="Nexa Bold"/>
                        </a:defRPr>
                      </a:pPr>
                      <a:r>
                        <a:t>Ker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921">
                <a:tc>
                  <a:txBody>
                    <a:bodyPr/>
                    <a:lstStyle/>
                    <a:p>
                      <a:pPr>
                        <a:defRPr sz="900">
                          <a:latin typeface="Nexa Bold"/>
                        </a:defRPr>
                      </a:pPr>
                      <a: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92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Frais A Tartine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5314">
                <a:tc>
                  <a:txBody>
                    <a:bodyPr/>
                    <a:lstStyle/>
                    <a:p>
                      <a:pPr>
                        <a:defRPr sz="900">
                          <a:latin typeface="Nexa Bold"/>
                        </a:defRPr>
                      </a:pPr>
                      <a: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1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5314">
                <a:tc>
                  <a:txBody>
                    <a:bodyPr/>
                    <a:lstStyle/>
                    <a:p>
                      <a:pPr>
                        <a:defRPr sz="900">
                          <a:latin typeface="Nexa Bold"/>
                        </a:defRPr>
                      </a:pPr>
                      <a:r>
                        <a:t>Lait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5314">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5314">
                <a:tc>
                  <a:txBody>
                    <a:bodyPr/>
                    <a:lstStyle/>
                    <a:p>
                      <a:pPr>
                        <a:defRPr sz="900">
                          <a:latin typeface="Nexa Bold"/>
                        </a:defRPr>
                      </a:pPr>
                      <a: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7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5314">
                <a:tc>
                  <a:txBody>
                    <a:bodyPr/>
                    <a:lstStyle/>
                    <a:p>
                      <a:pPr>
                        <a:defRPr sz="900">
                          <a:latin typeface="Nexa Bold"/>
                        </a:defRPr>
                      </a:pPr>
                      <a:r>
                        <a:t>Mondele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5314">
                <a:tc>
                  <a:txBody>
                    <a:bodyPr/>
                    <a:lstStyle/>
                    <a:p>
                      <a:pPr>
                        <a:defRPr sz="900">
                          <a:latin typeface="Nexa Bold"/>
                        </a:defRPr>
                      </a:pPr>
                      <a:r>
                        <a:t>Lactal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2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5314">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8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19"/>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Sa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3891">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3891">
                <a:tc>
                  <a:txBody>
                    <a:bodyPr/>
                    <a:lstStyle/>
                    <a:p>
                      <a:pPr>
                        <a:defRPr sz="900">
                          <a:latin typeface="Nexa Bold"/>
                        </a:defRPr>
                      </a:pPr>
                      <a:r>
                        <a:t>Lactal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4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3891">
                <a:tc>
                  <a:txBody>
                    <a:bodyPr/>
                    <a:lstStyle/>
                    <a:p>
                      <a:pPr>
                        <a:defRPr sz="900">
                          <a:latin typeface="Nexa Bold"/>
                        </a:defRPr>
                      </a:pPr>
                      <a:r>
                        <a:t>Casa Azzur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3891">
                <a:tc>
                  <a:txBody>
                    <a:bodyPr/>
                    <a:lstStyle/>
                    <a:p>
                      <a:pPr>
                        <a:defRPr sz="900">
                          <a:latin typeface="Nexa Bold"/>
                        </a:defRPr>
                      </a:pPr>
                      <a: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3891">
                <a:tc>
                  <a:txBody>
                    <a:bodyPr/>
                    <a:lstStyle/>
                    <a:p>
                      <a:pPr>
                        <a:defRPr sz="900">
                          <a:latin typeface="Nexa Bold"/>
                        </a:defRPr>
                      </a:pPr>
                      <a: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389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8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9/25/2025</a:t>
            </a:fld>
            <a:endParaRPr lang="en-US"/>
          </a:p>
        </p:txBody>
      </p:sp>
    </p:spTree>
    <p:extLst>
      <p:ext uri="{BB962C8B-B14F-4D97-AF65-F5344CB8AC3E}">
        <p14:creationId xmlns:p14="http://schemas.microsoft.com/office/powerpoint/2010/main" val="266041969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60304">
                <a:tc>
                  <a:txBody>
                    <a:bodyPr/>
                    <a:lstStyle/>
                    <a:p>
                      <a:pPr>
                        <a:defRPr sz="900">
                          <a:latin typeface="Nexa Bold"/>
                        </a:defRPr>
                      </a:pPr>
                      <a:r>
                        <a:t>Md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0.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0304">
                <a:tc>
                  <a:txBody>
                    <a:bodyPr/>
                    <a:lstStyle/>
                    <a:p>
                      <a:pPr>
                        <a:defRPr sz="900">
                          <a:latin typeface="Nexa Bold"/>
                        </a:defRPr>
                      </a:pPr>
                      <a:r>
                        <a:t>Savenci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2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0304">
                <a:tc>
                  <a:txBody>
                    <a:bodyPr/>
                    <a:lstStyle/>
                    <a:p>
                      <a:pPr>
                        <a:defRPr sz="900">
                          <a:latin typeface="Nexa Bold"/>
                        </a:defRPr>
                      </a:pPr>
                      <a:r>
                        <a:t>Lactal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1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360304">
                <a:tc>
                  <a:txBody>
                    <a:bodyPr/>
                    <a:lstStyle/>
                    <a:p>
                      <a:pPr>
                        <a:defRPr sz="900">
                          <a:latin typeface="Nexa Bold"/>
                        </a:defRPr>
                      </a:pPr>
                      <a:r>
                        <a:t>Be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1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360304">
                <a:tc>
                  <a:txBody>
                    <a:bodyPr/>
                    <a:lstStyle/>
                    <a:p>
                      <a:pPr>
                        <a:defRPr sz="900">
                          <a:latin typeface="Nexa Bold"/>
                        </a:defRPr>
                      </a:pPr>
                      <a:r>
                        <a:t>Euri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9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0304">
                <a:tc>
                  <a:txBody>
                    <a:bodyPr/>
                    <a:lstStyle/>
                    <a:p>
                      <a:pPr>
                        <a:defRPr sz="900">
                          <a:latin typeface="Nexa Bold"/>
                        </a:defRPr>
                      </a:pPr>
                      <a:r>
                        <a:t>Casa Azzurr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3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360304">
                <a:tc>
                  <a:txBody>
                    <a:bodyPr/>
                    <a:lstStyle/>
                    <a:p>
                      <a:pPr>
                        <a:defRPr sz="900">
                          <a:latin typeface="Nexa Bold"/>
                        </a:defRPr>
                      </a:pPr>
                      <a:r>
                        <a:t>Lait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3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360304">
                <a:tc>
                  <a:txBody>
                    <a:bodyPr/>
                    <a:lstStyle/>
                    <a:p>
                      <a:pPr>
                        <a:defRPr sz="900">
                          <a:latin typeface="Nexa Bold"/>
                        </a:defRPr>
                      </a:pPr>
                      <a:r>
                        <a:t>Ker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2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36030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5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Soft Cheese | Carrefour</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Preside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So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Caprice Des Dieux</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9/25/2025</a:t>
            </a:fld>
            <a:endParaRPr lang="en-US"/>
          </a:p>
        </p:txBody>
      </p:sp>
    </p:spTree>
    <p:extLst>
      <p:ext uri="{BB962C8B-B14F-4D97-AF65-F5344CB8AC3E}">
        <p14:creationId xmlns:p14="http://schemas.microsoft.com/office/powerpoint/2010/main" val="23672080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gment | Intermarche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Enfan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652921">
                <a:tc>
                  <a:txBody>
                    <a:bodyPr/>
                    <a:lstStyle/>
                    <a:p>
                      <a:pPr>
                        <a:defRPr sz="900">
                          <a:latin typeface="Nexa Bold"/>
                        </a:defRPr>
                      </a:pPr>
                      <a: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52921">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652921">
                <a:tc>
                  <a:txBody>
                    <a:bodyPr/>
                    <a:lstStyle/>
                    <a:p>
                      <a:pPr>
                        <a:defRPr sz="900">
                          <a:latin typeface="Nexa Bold"/>
                        </a:defRPr>
                      </a:pPr>
                      <a:r>
                        <a:t>Ker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652921">
                <a:tc>
                  <a:txBody>
                    <a:bodyPr/>
                    <a:lstStyle/>
                    <a:p>
                      <a:pPr>
                        <a:defRPr sz="900">
                          <a:latin typeface="Nexa Bold"/>
                        </a:defRPr>
                      </a:pPr>
                      <a: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65292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1"/>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Frais A Tartine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2866">
                <a:tc>
                  <a:txBody>
                    <a:bodyPr/>
                    <a:lstStyle/>
                    <a:p>
                      <a:pPr>
                        <a:defRPr sz="900">
                          <a:latin typeface="Nexa Bold"/>
                        </a:defRPr>
                      </a:pPr>
                      <a: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2866">
                <a:tc>
                  <a:txBody>
                    <a:bodyPr/>
                    <a:lstStyle/>
                    <a:p>
                      <a:pPr>
                        <a:defRPr sz="900">
                          <a:latin typeface="Nexa Bold"/>
                        </a:defRPr>
                      </a:pPr>
                      <a:r>
                        <a:t>Lait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2866">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2866">
                <a:tc>
                  <a:txBody>
                    <a:bodyPr/>
                    <a:lstStyle/>
                    <a:p>
                      <a:pPr>
                        <a:defRPr sz="900">
                          <a:latin typeface="Nexa Bold"/>
                        </a:defRPr>
                      </a:pPr>
                      <a: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6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2866">
                <a:tc>
                  <a:txBody>
                    <a:bodyPr/>
                    <a:lstStyle/>
                    <a:p>
                      <a:pPr>
                        <a:defRPr sz="900">
                          <a:latin typeface="Nexa Bold"/>
                        </a:defRPr>
                      </a:pPr>
                      <a:r>
                        <a:t>Mondele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286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19"/>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Sa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3891">
                <a:tc>
                  <a:txBody>
                    <a:bodyPr/>
                    <a:lstStyle/>
                    <a:p>
                      <a:pPr>
                        <a:defRPr sz="900">
                          <a:latin typeface="Nexa Bold"/>
                        </a:defRPr>
                      </a:pPr>
                      <a: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543891">
                <a:tc>
                  <a:txBody>
                    <a:bodyPr/>
                    <a:lstStyle/>
                    <a:p>
                      <a:pPr>
                        <a:defRPr sz="900">
                          <a:latin typeface="Nexa Bold"/>
                        </a:defRPr>
                      </a:pPr>
                      <a:r>
                        <a:t>Lactal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543891">
                <a:tc>
                  <a:txBody>
                    <a:bodyPr/>
                    <a:lstStyle/>
                    <a:p>
                      <a:pPr>
                        <a:defRPr sz="900">
                          <a:latin typeface="Nexa Bold"/>
                        </a:defRPr>
                      </a:pPr>
                      <a:r>
                        <a:t>Casa Azzur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3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543891">
                <a:tc>
                  <a:txBody>
                    <a:bodyPr/>
                    <a:lstStyle/>
                    <a:p>
                      <a:pPr>
                        <a:defRPr sz="900">
                          <a:latin typeface="Nexa Bold"/>
                        </a:defRPr>
                      </a:pPr>
                      <a: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543891">
                <a:tc>
                  <a:txBody>
                    <a:bodyPr/>
                    <a:lstStyle/>
                    <a:p>
                      <a:pPr>
                        <a:defRPr sz="900">
                          <a:latin typeface="Nexa Bold"/>
                        </a:defRPr>
                      </a:pPr>
                      <a: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54389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9/25/2025</a:t>
            </a:fld>
            <a:endParaRPr lang="en-US"/>
          </a:p>
        </p:txBody>
      </p:sp>
    </p:spTree>
    <p:extLst>
      <p:ext uri="{BB962C8B-B14F-4D97-AF65-F5344CB8AC3E}">
        <p14:creationId xmlns:p14="http://schemas.microsoft.com/office/powerpoint/2010/main" val="162724711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Carrefour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Enfan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6372">
                <a:tc>
                  <a:txBody>
                    <a:bodyPr/>
                    <a:lstStyle/>
                    <a:p>
                      <a:pPr>
                        <a:defRPr sz="900">
                          <a:latin typeface="Nexa Bold"/>
                        </a:defRPr>
                      </a:pPr>
                      <a: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6372">
                <a:tc>
                  <a:txBody>
                    <a:bodyPr/>
                    <a:lstStyle/>
                    <a:p>
                      <a:pPr>
                        <a:defRPr sz="900">
                          <a:latin typeface="Nexa Bold"/>
                        </a:defRPr>
                      </a:pPr>
                      <a:r>
                        <a:t>Mini Baby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6372">
                <a:tc>
                  <a:txBody>
                    <a:bodyPr/>
                    <a:lstStyle/>
                    <a:p>
                      <a:pPr>
                        <a:defRPr sz="900">
                          <a:latin typeface="Nexa Bold"/>
                        </a:defRPr>
                      </a:pPr>
                      <a: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3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6372">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6372">
                <a:tc>
                  <a:txBody>
                    <a:bodyPr/>
                    <a:lstStyle/>
                    <a:p>
                      <a:pPr>
                        <a:defRPr sz="900">
                          <a:latin typeface="Nexa Bold"/>
                        </a:defRPr>
                      </a:pPr>
                      <a:r>
                        <a:t>Ficel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29</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6372">
                <a:tc>
                  <a:txBody>
                    <a:bodyPr/>
                    <a:lstStyle/>
                    <a:p>
                      <a:pPr>
                        <a:defRPr sz="900">
                          <a:latin typeface="Nexa Bold"/>
                        </a:defRPr>
                      </a:pPr>
                      <a:r>
                        <a:t>P'Tit Lou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637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7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1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Frais A Tartine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5719">
                <a:tc>
                  <a:txBody>
                    <a:bodyPr/>
                    <a:lstStyle/>
                    <a:p>
                      <a:pPr>
                        <a:defRPr sz="900">
                          <a:latin typeface="Nexa Bold"/>
                        </a:defRPr>
                      </a:pPr>
                      <a: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4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65046662"/>
                  </a:ext>
                </a:extLst>
              </a:tr>
              <a:tr h="325719">
                <a:tc>
                  <a:txBody>
                    <a:bodyPr/>
                    <a:lstStyle/>
                    <a:p>
                      <a:pPr>
                        <a:defRPr sz="900">
                          <a:latin typeface="Nexa Bold"/>
                        </a:defRPr>
                      </a:pPr>
                      <a:r>
                        <a:t>Paysan Bret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25719">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25719">
                <a:tc>
                  <a:txBody>
                    <a:bodyPr/>
                    <a:lstStyle/>
                    <a:p>
                      <a:pPr>
                        <a:defRPr sz="900">
                          <a:latin typeface="Nexa Bold"/>
                        </a:defRPr>
                      </a:pPr>
                      <a:r>
                        <a:t>Tart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9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25719">
                <a:tc>
                  <a:txBody>
                    <a:bodyPr/>
                    <a:lstStyle/>
                    <a:p>
                      <a:pPr>
                        <a:defRPr sz="900">
                          <a:latin typeface="Nexa Bold"/>
                        </a:defRPr>
                      </a:pPr>
                      <a: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25719">
                <a:tc>
                  <a:txBody>
                    <a:bodyPr/>
                    <a:lstStyle/>
                    <a:p>
                      <a:pPr>
                        <a:defRPr sz="900">
                          <a:latin typeface="Nexa Bold"/>
                        </a:defRPr>
                      </a:pPr>
                      <a:r>
                        <a:t>Carre Fra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25719">
                <a:tc>
                  <a:txBody>
                    <a:bodyPr/>
                    <a:lstStyle/>
                    <a:p>
                      <a:pPr>
                        <a:defRPr sz="900">
                          <a:latin typeface="Nexa Bold"/>
                        </a:defRPr>
                      </a:pPr>
                      <a:r>
                        <a:t>Philadelph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25719">
                <a:tc>
                  <a:txBody>
                    <a:bodyPr/>
                    <a:lstStyle/>
                    <a:p>
                      <a:pPr>
                        <a:defRPr sz="900">
                          <a:latin typeface="Nexa Bold"/>
                        </a:defRPr>
                      </a:pPr>
                      <a: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9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25719">
                <a:tc>
                  <a:txBody>
                    <a:bodyPr/>
                    <a:lstStyle/>
                    <a:p>
                      <a:pPr>
                        <a:defRPr sz="900">
                          <a:latin typeface="Nexa Bold"/>
                        </a:defRPr>
                      </a:pPr>
                      <a: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25719">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4.4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Sa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6193">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4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6193">
                <a:tc>
                  <a:txBody>
                    <a:bodyPr/>
                    <a:lstStyle/>
                    <a:p>
                      <a:pPr>
                        <a:defRPr sz="900">
                          <a:latin typeface="Nexa Bold"/>
                        </a:defRPr>
                      </a:pPr>
                      <a: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3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6193">
                <a:tc>
                  <a:txBody>
                    <a:bodyPr/>
                    <a:lstStyle/>
                    <a:p>
                      <a:pPr>
                        <a:defRPr sz="900">
                          <a:latin typeface="Nexa Bold"/>
                        </a:defRPr>
                      </a:pPr>
                      <a:r>
                        <a:t>Casa Azzur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38</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6193">
                <a:tc>
                  <a:txBody>
                    <a:bodyPr/>
                    <a:lstStyle/>
                    <a:p>
                      <a:pPr>
                        <a:defRPr sz="900">
                          <a:latin typeface="Nexa Bold"/>
                        </a:defRPr>
                      </a:pPr>
                      <a:r>
                        <a:t>Salak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6193">
                <a:tc>
                  <a:txBody>
                    <a:bodyPr/>
                    <a:lstStyle/>
                    <a:p>
                      <a:pPr>
                        <a:defRPr sz="900">
                          <a:latin typeface="Nexa Bold"/>
                        </a:defRPr>
                      </a:pPr>
                      <a:r>
                        <a:t>Islo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8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6193">
                <a:tc>
                  <a:txBody>
                    <a:bodyPr/>
                    <a:lstStyle/>
                    <a:p>
                      <a:pPr>
                        <a:defRPr sz="900">
                          <a:latin typeface="Nexa Bold"/>
                        </a:defRPr>
                      </a:pPr>
                      <a: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8.0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619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7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9/25/2025</a:t>
            </a:fld>
            <a:endParaRPr lang="en-US"/>
          </a:p>
        </p:txBody>
      </p:sp>
    </p:spTree>
    <p:extLst>
      <p:ext uri="{BB962C8B-B14F-4D97-AF65-F5344CB8AC3E}">
        <p14:creationId xmlns:p14="http://schemas.microsoft.com/office/powerpoint/2010/main" val="249967968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Brands | By Segment | Intermarche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pPr>
              <a:defRPr>
                <a:latin typeface="Nexa Bold (Headings)"/>
              </a:defRPr>
            </a:pPr>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21022"/>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pPr algn="ctr">
                        <a:defRPr sz="800">
                          <a:solidFill>
                            <a:srgbClr val="575555"/>
                          </a:solidFill>
                          <a:latin typeface="Nexa Bold"/>
                        </a:defRPr>
                      </a:pPr>
                      <a:r>
                        <a:t>Enfant</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6372">
                <a:tc>
                  <a:txBody>
                    <a:bodyPr/>
                    <a:lstStyle/>
                    <a:p>
                      <a:pPr>
                        <a:defRPr sz="900">
                          <a:latin typeface="Nexa Bold"/>
                        </a:defRPr>
                      </a:pPr>
                      <a: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6372">
                <a:tc>
                  <a:txBody>
                    <a:bodyPr/>
                    <a:lstStyle/>
                    <a:p>
                      <a:pPr>
                        <a:defRPr sz="900">
                          <a:latin typeface="Nexa Bold"/>
                        </a:defRPr>
                      </a:pPr>
                      <a:r>
                        <a:t>Mini Baby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7.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6372">
                <a:tc>
                  <a:txBody>
                    <a:bodyPr/>
                    <a:lstStyle/>
                    <a:p>
                      <a:pPr>
                        <a:defRPr sz="900">
                          <a:latin typeface="Nexa Bold"/>
                        </a:defRPr>
                      </a:pPr>
                      <a: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6372">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8.05</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6372">
                <a:tc>
                  <a:txBody>
                    <a:bodyPr/>
                    <a:lstStyle/>
                    <a:p>
                      <a:pPr>
                        <a:defRPr sz="900">
                          <a:latin typeface="Nexa Bold"/>
                        </a:defRPr>
                      </a:pPr>
                      <a:r>
                        <a:t>Ficel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3.1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6372">
                <a:tc>
                  <a:txBody>
                    <a:bodyPr/>
                    <a:lstStyle/>
                    <a:p>
                      <a:pPr>
                        <a:defRPr sz="900">
                          <a:latin typeface="Nexa Bold"/>
                        </a:defRPr>
                      </a:pPr>
                      <a:r>
                        <a:t>P'Tit Lou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2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637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4.0</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12" name="T1-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3">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pPr algn="ctr">
                        <a:defRPr sz="800">
                          <a:solidFill>
                            <a:srgbClr val="575555"/>
                          </a:solidFill>
                          <a:latin typeface="Nexa Bold"/>
                        </a:defRPr>
                      </a:pPr>
                      <a:r>
                        <a:t>Frais A Tartiner</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1911">
                <a:tc>
                  <a:txBody>
                    <a:bodyPr/>
                    <a:lstStyle/>
                    <a:p>
                      <a:pPr>
                        <a:defRPr sz="900">
                          <a:latin typeface="Nexa Bold"/>
                        </a:defRPr>
                      </a:pPr>
                      <a: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6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73492560"/>
                  </a:ext>
                </a:extLst>
              </a:tr>
              <a:tr h="361911">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7.9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85908743"/>
                  </a:ext>
                </a:extLst>
              </a:tr>
              <a:tr h="361911">
                <a:tc>
                  <a:txBody>
                    <a:bodyPr/>
                    <a:lstStyle/>
                    <a:p>
                      <a:pPr>
                        <a:defRPr sz="900">
                          <a:latin typeface="Nexa Bold"/>
                        </a:defRPr>
                      </a:pPr>
                      <a:r>
                        <a:t>Paysan Bret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3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361911">
                <a:tc>
                  <a:txBody>
                    <a:bodyPr/>
                    <a:lstStyle/>
                    <a:p>
                      <a:pPr>
                        <a:defRPr sz="900">
                          <a:latin typeface="Nexa Bold"/>
                        </a:defRPr>
                      </a:pPr>
                      <a: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5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361911">
                <a:tc>
                  <a:txBody>
                    <a:bodyPr/>
                    <a:lstStyle/>
                    <a:p>
                      <a:pPr>
                        <a:defRPr sz="900">
                          <a:latin typeface="Nexa Bold"/>
                        </a:defRPr>
                      </a:pPr>
                      <a:r>
                        <a:t>Tart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7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361911">
                <a:tc>
                  <a:txBody>
                    <a:bodyPr/>
                    <a:lstStyle/>
                    <a:p>
                      <a:pPr>
                        <a:defRPr sz="900">
                          <a:latin typeface="Nexa Bold"/>
                        </a:defRPr>
                      </a:pPr>
                      <a:r>
                        <a:t>Carre Fra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2.2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361911">
                <a:tc>
                  <a:txBody>
                    <a:bodyPr/>
                    <a:lstStyle/>
                    <a:p>
                      <a:pPr>
                        <a:defRPr sz="900">
                          <a:latin typeface="Nexa Bold"/>
                        </a:defRPr>
                      </a:pPr>
                      <a:r>
                        <a:t>Philadelph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361911">
                <a:tc>
                  <a:txBody>
                    <a:bodyPr/>
                    <a:lstStyle/>
                    <a:p>
                      <a:pPr>
                        <a:defRPr sz="900">
                          <a:latin typeface="Nexa Bold"/>
                        </a:defRPr>
                      </a:pPr>
                      <a: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2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361911">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6.9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27" name="T3-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2102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pPr algn="ctr">
                        <a:defRPr sz="800">
                          <a:solidFill>
                            <a:srgbClr val="575555"/>
                          </a:solidFill>
                          <a:latin typeface="Nexa Bold"/>
                        </a:defRPr>
                      </a:pPr>
                      <a:r>
                        <a:t>Salade</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800">
                          <a:solidFill>
                            <a:srgbClr val="575555"/>
                          </a:solidFill>
                          <a:latin typeface="Nexa Bold"/>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6193">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0.86</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676734682"/>
                  </a:ext>
                </a:extLst>
              </a:tr>
              <a:tr h="466193">
                <a:tc>
                  <a:txBody>
                    <a:bodyPr/>
                    <a:lstStyle/>
                    <a:p>
                      <a:pPr>
                        <a:defRPr sz="900">
                          <a:latin typeface="Nexa Bold"/>
                        </a:defRPr>
                      </a:pPr>
                      <a: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5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66193">
                <a:tc>
                  <a:txBody>
                    <a:bodyPr/>
                    <a:lstStyle/>
                    <a:p>
                      <a:pPr>
                        <a:defRPr sz="900">
                          <a:latin typeface="Nexa Bold"/>
                        </a:defRPr>
                      </a:pPr>
                      <a:r>
                        <a:t>Salak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3.11</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6193">
                <a:tc>
                  <a:txBody>
                    <a:bodyPr/>
                    <a:lstStyle/>
                    <a:p>
                      <a:pPr>
                        <a:defRPr sz="900">
                          <a:latin typeface="Nexa Bold"/>
                        </a:defRPr>
                      </a:pPr>
                      <a:r>
                        <a:t>Casa Azzur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5.4</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544784034"/>
                  </a:ext>
                </a:extLst>
              </a:tr>
              <a:tr h="466193">
                <a:tc>
                  <a:txBody>
                    <a:bodyPr/>
                    <a:lstStyle/>
                    <a:p>
                      <a:pPr>
                        <a:defRPr sz="900">
                          <a:latin typeface="Nexa Bold"/>
                        </a:defRPr>
                      </a:pPr>
                      <a:r>
                        <a:t>Islo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19.43</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37674508"/>
                  </a:ext>
                </a:extLst>
              </a:tr>
              <a:tr h="466193">
                <a:tc>
                  <a:txBody>
                    <a:bodyPr/>
                    <a:lstStyle/>
                    <a:p>
                      <a:pPr>
                        <a:defRPr sz="900">
                          <a:latin typeface="Nexa Bold"/>
                        </a:defRPr>
                      </a:pPr>
                      <a: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2</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114958032"/>
                  </a:ext>
                </a:extLst>
              </a:tr>
              <a:tr h="46619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a:defRPr sz="800">
                          <a:latin typeface="Nexa Book"/>
                        </a:defRPr>
                      </a:pPr>
                      <a:r>
                        <a:t>20.7</a:t>
                      </a: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9/25/2025</a:t>
            </a:fld>
            <a:endParaRPr lang="en-US"/>
          </a:p>
        </p:txBody>
      </p:sp>
    </p:spTree>
    <p:extLst>
      <p:ext uri="{BB962C8B-B14F-4D97-AF65-F5344CB8AC3E}">
        <p14:creationId xmlns:p14="http://schemas.microsoft.com/office/powerpoint/2010/main" val="416467758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Carrefour | P3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9"/>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Kiri</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6234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762345">
                <a:tc>
                  <a:txBody>
                    <a:bodyPr/>
                    <a:lstStyle/>
                    <a:p>
                      <a:pPr>
                        <a:defRPr sz="800">
                          <a:latin typeface="Nexa Bold"/>
                        </a:defRPr>
                      </a:pPr>
                      <a:r>
                        <a:t>Soft Chees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62345">
                <a:tc>
                  <a:txBody>
                    <a:bodyPr/>
                    <a:lstStyle/>
                    <a:p>
                      <a:pPr>
                        <a:defRPr sz="800">
                          <a:latin typeface="Nexa Bold"/>
                        </a:defRPr>
                      </a:pPr>
                      <a:r>
                        <a:t>Aperitif</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62345">
                <a:tc>
                  <a:txBody>
                    <a:bodyPr/>
                    <a:lstStyle/>
                    <a:p>
                      <a:pPr>
                        <a:defRPr sz="800">
                          <a:latin typeface="Nexa Bold"/>
                        </a:defRPr>
                      </a:pPr>
                      <a:r>
                        <a:t>Alternative Vegeta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9/25/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32792717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Carrefour | P3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9"/>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La Vache Qui Rit</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6234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762345">
                <a:tc>
                  <a:txBody>
                    <a:bodyPr/>
                    <a:lstStyle/>
                    <a:p>
                      <a:pPr>
                        <a:defRPr sz="800">
                          <a:latin typeface="Nexa Bold"/>
                        </a:defRPr>
                      </a:pPr>
                      <a:r>
                        <a:t>Soft Chees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62345">
                <a:tc>
                  <a:txBody>
                    <a:bodyPr/>
                    <a:lstStyle/>
                    <a:p>
                      <a:pPr>
                        <a:defRPr sz="800">
                          <a:latin typeface="Nexa Bold"/>
                        </a:defRPr>
                      </a:pPr>
                      <a:r>
                        <a:t>Aperitif</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62345">
                <a:tc>
                  <a:txBody>
                    <a:bodyPr/>
                    <a:lstStyle/>
                    <a:p>
                      <a:pPr>
                        <a:defRPr sz="800">
                          <a:latin typeface="Nexa Bold"/>
                        </a:defRPr>
                      </a:pPr>
                      <a:r>
                        <a:t>Alternative Vegeta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9/25/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86508820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Carrefour | P3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9"/>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Boursin</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6234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762345">
                <a:tc>
                  <a:txBody>
                    <a:bodyPr/>
                    <a:lstStyle/>
                    <a:p>
                      <a:pPr>
                        <a:defRPr sz="800">
                          <a:latin typeface="Nexa Bold"/>
                        </a:defRPr>
                      </a:pPr>
                      <a:r>
                        <a:t>Soft Chees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62345">
                <a:tc>
                  <a:txBody>
                    <a:bodyPr/>
                    <a:lstStyle/>
                    <a:p>
                      <a:pPr>
                        <a:defRPr sz="800">
                          <a:latin typeface="Nexa Bold"/>
                        </a:defRPr>
                      </a:pPr>
                      <a:r>
                        <a:t>Aperitif</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4.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62345">
                <a:tc>
                  <a:txBody>
                    <a:bodyPr/>
                    <a:lstStyle/>
                    <a:p>
                      <a:pPr>
                        <a:defRPr sz="800">
                          <a:latin typeface="Nexa Bold"/>
                        </a:defRPr>
                      </a:pPr>
                      <a:r>
                        <a:t>Alternative Vegeta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9/25/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30916133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Carrefour | P3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9"/>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Bel</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6234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762345">
                <a:tc>
                  <a:txBody>
                    <a:bodyPr/>
                    <a:lstStyle/>
                    <a:p>
                      <a:pPr>
                        <a:defRPr sz="800">
                          <a:latin typeface="Nexa Bold"/>
                        </a:defRPr>
                      </a:pPr>
                      <a:r>
                        <a:t>Soft Chees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62345">
                <a:tc>
                  <a:txBody>
                    <a:bodyPr/>
                    <a:lstStyle/>
                    <a:p>
                      <a:pPr>
                        <a:defRPr sz="800">
                          <a:latin typeface="Nexa Bold"/>
                        </a:defRPr>
                      </a:pPr>
                      <a:r>
                        <a:t>Aperitif</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62345">
                <a:tc>
                  <a:txBody>
                    <a:bodyPr/>
                    <a:lstStyle/>
                    <a:p>
                      <a:pPr>
                        <a:defRPr sz="800">
                          <a:latin typeface="Nexa Bold"/>
                        </a:defRPr>
                      </a:pPr>
                      <a:r>
                        <a:t>Alternative Vegeta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9/25/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406485484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Intermarche | P3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9"/>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Kiri</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6234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762345">
                <a:tc>
                  <a:txBody>
                    <a:bodyPr/>
                    <a:lstStyle/>
                    <a:p>
                      <a:pPr>
                        <a:defRPr sz="800">
                          <a:latin typeface="Nexa Bold"/>
                        </a:defRPr>
                      </a:pPr>
                      <a:r>
                        <a:t>Soft Chees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62345">
                <a:tc>
                  <a:txBody>
                    <a:bodyPr/>
                    <a:lstStyle/>
                    <a:p>
                      <a:pPr>
                        <a:defRPr sz="800">
                          <a:latin typeface="Nexa Bold"/>
                        </a:defRPr>
                      </a:pPr>
                      <a:r>
                        <a:t>Aperitif</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62345">
                <a:tc>
                  <a:txBody>
                    <a:bodyPr/>
                    <a:lstStyle/>
                    <a:p>
                      <a:pPr>
                        <a:defRPr sz="800">
                          <a:latin typeface="Nexa Bold"/>
                        </a:defRPr>
                      </a:pPr>
                      <a:r>
                        <a:t>Alternative Vegeta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9/25/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43322515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Intermarche | P3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9"/>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La Vache Qui Rit</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6234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762345">
                <a:tc>
                  <a:txBody>
                    <a:bodyPr/>
                    <a:lstStyle/>
                    <a:p>
                      <a:pPr>
                        <a:defRPr sz="800">
                          <a:latin typeface="Nexa Bold"/>
                        </a:defRPr>
                      </a:pPr>
                      <a:r>
                        <a:t>Soft Chees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62345">
                <a:tc>
                  <a:txBody>
                    <a:bodyPr/>
                    <a:lstStyle/>
                    <a:p>
                      <a:pPr>
                        <a:defRPr sz="800">
                          <a:latin typeface="Nexa Bold"/>
                        </a:defRPr>
                      </a:pPr>
                      <a:r>
                        <a:t>Aperitif</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62345">
                <a:tc>
                  <a:txBody>
                    <a:bodyPr/>
                    <a:lstStyle/>
                    <a:p>
                      <a:pPr>
                        <a:defRPr sz="800">
                          <a:latin typeface="Nexa Bold"/>
                        </a:defRPr>
                      </a:pPr>
                      <a:r>
                        <a:t>Alternative Vegeta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9/25/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30203437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Intermarche | P3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9"/>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Boursin</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6234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762345">
                <a:tc>
                  <a:txBody>
                    <a:bodyPr/>
                    <a:lstStyle/>
                    <a:p>
                      <a:pPr>
                        <a:defRPr sz="800">
                          <a:latin typeface="Nexa Bold"/>
                        </a:defRPr>
                      </a:pPr>
                      <a:r>
                        <a:t>Soft Chees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62345">
                <a:tc>
                  <a:txBody>
                    <a:bodyPr/>
                    <a:lstStyle/>
                    <a:p>
                      <a:pPr>
                        <a:defRPr sz="800">
                          <a:latin typeface="Nexa Bold"/>
                        </a:defRPr>
                      </a:pPr>
                      <a:r>
                        <a:t>Aperitif</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5.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62345">
                <a:tc>
                  <a:txBody>
                    <a:bodyPr/>
                    <a:lstStyle/>
                    <a:p>
                      <a:pPr>
                        <a:defRPr sz="800">
                          <a:latin typeface="Nexa Bold"/>
                        </a:defRPr>
                      </a:pPr>
                      <a:r>
                        <a:t>Alternative Vegeta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9/25/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7315111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5342">
                <a:tc>
                  <a:txBody>
                    <a:bodyPr/>
                    <a:lstStyle/>
                    <a:p>
                      <a:pPr>
                        <a:defRPr sz="900">
                          <a:latin typeface="Nexa Bold"/>
                        </a:defRPr>
                      </a:pPr>
                      <a:r>
                        <a:t>Md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819674815"/>
                  </a:ext>
                </a:extLst>
              </a:tr>
              <a:tr h="405342">
                <a:tc>
                  <a:txBody>
                    <a:bodyPr/>
                    <a:lstStyle/>
                    <a:p>
                      <a:pPr>
                        <a:defRPr sz="900">
                          <a:latin typeface="Nexa Bold"/>
                        </a:defRPr>
                      </a:pPr>
                      <a:r>
                        <a:t>Savenci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0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405342">
                <a:tc>
                  <a:txBody>
                    <a:bodyPr/>
                    <a:lstStyle/>
                    <a:p>
                      <a:pPr>
                        <a:defRPr sz="900">
                          <a:latin typeface="Nexa Bold"/>
                        </a:defRPr>
                      </a:pPr>
                      <a:r>
                        <a:t>Lactal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1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405342">
                <a:tc>
                  <a:txBody>
                    <a:bodyPr/>
                    <a:lstStyle/>
                    <a:p>
                      <a:pPr>
                        <a:defRPr sz="900">
                          <a:latin typeface="Nexa Bold"/>
                        </a:defRPr>
                      </a:pPr>
                      <a:r>
                        <a:t>Be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9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05342">
                <a:tc>
                  <a:txBody>
                    <a:bodyPr/>
                    <a:lstStyle/>
                    <a:p>
                      <a:pPr>
                        <a:defRPr sz="900">
                          <a:latin typeface="Nexa Bold"/>
                        </a:defRPr>
                      </a:pPr>
                      <a:r>
                        <a:t>Euri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2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405342">
                <a:tc>
                  <a:txBody>
                    <a:bodyPr/>
                    <a:lstStyle/>
                    <a:p>
                      <a:pPr>
                        <a:defRPr sz="900">
                          <a:latin typeface="Nexa Bold"/>
                        </a:defRPr>
                      </a:pPr>
                      <a:r>
                        <a:t>Casa Azzurr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3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405342">
                <a:tc>
                  <a:txBody>
                    <a:bodyPr/>
                    <a:lstStyle/>
                    <a:p>
                      <a:pPr>
                        <a:defRPr sz="900">
                          <a:latin typeface="Nexa Bold"/>
                        </a:defRPr>
                      </a:pPr>
                      <a:r>
                        <a:t>Lait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3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405342">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7.9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4</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Soft Cheese | Intermarch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Preside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9.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Soign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Caprice Des Dieux</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9/25/2025</a:t>
            </a:fld>
            <a:endParaRPr lang="en-US"/>
          </a:p>
        </p:txBody>
      </p:sp>
    </p:spTree>
    <p:extLst>
      <p:ext uri="{BB962C8B-B14F-4D97-AF65-F5344CB8AC3E}">
        <p14:creationId xmlns:p14="http://schemas.microsoft.com/office/powerpoint/2010/main" val="381571622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ctor | Intermarche | P3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9"/>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Bel</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62345">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762345">
                <a:tc>
                  <a:txBody>
                    <a:bodyPr/>
                    <a:lstStyle/>
                    <a:p>
                      <a:pPr>
                        <a:defRPr sz="800">
                          <a:latin typeface="Nexa Bold"/>
                        </a:defRPr>
                      </a:pPr>
                      <a:r>
                        <a:t>Soft Chees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762345">
                <a:tc>
                  <a:txBody>
                    <a:bodyPr/>
                    <a:lstStyle/>
                    <a:p>
                      <a:pPr>
                        <a:defRPr sz="800">
                          <a:latin typeface="Nexa Bold"/>
                        </a:defRPr>
                      </a:pPr>
                      <a:r>
                        <a:t>Aperitif</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762345">
                <a:tc>
                  <a:txBody>
                    <a:bodyPr/>
                    <a:lstStyle/>
                    <a:p>
                      <a:pPr>
                        <a:defRPr sz="800">
                          <a:latin typeface="Nexa Bold"/>
                        </a:defRPr>
                      </a:pPr>
                      <a:r>
                        <a:t>Alternative Vegeta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9/25/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07033602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Carrefour | P3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9"/>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Kiri</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8820">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38820">
                <a:tc>
                  <a:txBody>
                    <a:bodyPr/>
                    <a:lstStyle/>
                    <a:p>
                      <a:pPr>
                        <a:defRPr sz="800">
                          <a:latin typeface="Nexa Bold"/>
                        </a:defRPr>
                      </a:pPr>
                      <a:r>
                        <a:t>Sa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338820">
                <a:tc>
                  <a:txBody>
                    <a:bodyPr/>
                    <a:lstStyle/>
                    <a:p>
                      <a:pPr>
                        <a:defRPr sz="800">
                          <a:latin typeface="Nexa Bold"/>
                        </a:defRPr>
                      </a:pPr>
                      <a:r>
                        <a:t>Classiqu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338820">
                <a:tc>
                  <a:txBody>
                    <a:bodyPr/>
                    <a:lstStyle/>
                    <a:p>
                      <a:pPr>
                        <a:defRPr sz="800">
                          <a:latin typeface="Nexa Bold"/>
                        </a:defRPr>
                      </a:pPr>
                      <a:r>
                        <a:t>Chev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338820">
                <a:tc>
                  <a:txBody>
                    <a:bodyPr/>
                    <a:lstStyle/>
                    <a:p>
                      <a:pPr>
                        <a:defRPr sz="800">
                          <a:latin typeface="Nexa Bold"/>
                        </a:defRPr>
                      </a:pPr>
                      <a:r>
                        <a:t>Frais A Tartin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338820">
                <a:tc>
                  <a:txBody>
                    <a:bodyPr/>
                    <a:lstStyle/>
                    <a:p>
                      <a:pPr>
                        <a:defRPr sz="800">
                          <a:latin typeface="Nexa Bold"/>
                        </a:defRPr>
                      </a:pPr>
                      <a:r>
                        <a:t>Enfan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338820">
                <a:tc>
                  <a:txBody>
                    <a:bodyPr/>
                    <a:lstStyle/>
                    <a:p>
                      <a:pPr>
                        <a:defRPr sz="800">
                          <a:latin typeface="Nexa Bold"/>
                        </a:defRPr>
                      </a:pPr>
                      <a:r>
                        <a:t>Aperitif</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338820">
                <a:tc>
                  <a:txBody>
                    <a:bodyPr/>
                    <a:lstStyle/>
                    <a:p>
                      <a:pPr>
                        <a:defRPr sz="800">
                          <a:latin typeface="Nexa Bold"/>
                        </a:defRPr>
                      </a:pPr>
                      <a:r>
                        <a:t>Breb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338820">
                <a:tc>
                  <a:txBody>
                    <a:bodyPr/>
                    <a:lstStyle/>
                    <a:p>
                      <a:pPr>
                        <a:defRPr sz="800">
                          <a:latin typeface="Nexa Bold"/>
                        </a:defRPr>
                      </a:pPr>
                      <a:r>
                        <a:t>Alternative Vegeta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9/25/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19703970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Carrefour | P3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9"/>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La Vache Qui Rit</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8820">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38820">
                <a:tc>
                  <a:txBody>
                    <a:bodyPr/>
                    <a:lstStyle/>
                    <a:p>
                      <a:pPr>
                        <a:defRPr sz="800">
                          <a:latin typeface="Nexa Bold"/>
                        </a:defRPr>
                      </a:pPr>
                      <a:r>
                        <a:t>Sa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338820">
                <a:tc>
                  <a:txBody>
                    <a:bodyPr/>
                    <a:lstStyle/>
                    <a:p>
                      <a:pPr>
                        <a:defRPr sz="800">
                          <a:latin typeface="Nexa Bold"/>
                        </a:defRPr>
                      </a:pPr>
                      <a:r>
                        <a:t>Classiqu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338820">
                <a:tc>
                  <a:txBody>
                    <a:bodyPr/>
                    <a:lstStyle/>
                    <a:p>
                      <a:pPr>
                        <a:defRPr sz="800">
                          <a:latin typeface="Nexa Bold"/>
                        </a:defRPr>
                      </a:pPr>
                      <a:r>
                        <a:t>Chev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338820">
                <a:tc>
                  <a:txBody>
                    <a:bodyPr/>
                    <a:lstStyle/>
                    <a:p>
                      <a:pPr>
                        <a:defRPr sz="800">
                          <a:latin typeface="Nexa Bold"/>
                        </a:defRPr>
                      </a:pPr>
                      <a:r>
                        <a:t>Frais A Tartin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338820">
                <a:tc>
                  <a:txBody>
                    <a:bodyPr/>
                    <a:lstStyle/>
                    <a:p>
                      <a:pPr>
                        <a:defRPr sz="800">
                          <a:latin typeface="Nexa Bold"/>
                        </a:defRPr>
                      </a:pPr>
                      <a:r>
                        <a:t>Enfan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338820">
                <a:tc>
                  <a:txBody>
                    <a:bodyPr/>
                    <a:lstStyle/>
                    <a:p>
                      <a:pPr>
                        <a:defRPr sz="800">
                          <a:latin typeface="Nexa Bold"/>
                        </a:defRPr>
                      </a:pPr>
                      <a:r>
                        <a:t>Aperitif</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338820">
                <a:tc>
                  <a:txBody>
                    <a:bodyPr/>
                    <a:lstStyle/>
                    <a:p>
                      <a:pPr>
                        <a:defRPr sz="800">
                          <a:latin typeface="Nexa Bold"/>
                        </a:defRPr>
                      </a:pPr>
                      <a:r>
                        <a:t>Breb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338820">
                <a:tc>
                  <a:txBody>
                    <a:bodyPr/>
                    <a:lstStyle/>
                    <a:p>
                      <a:pPr>
                        <a:defRPr sz="800">
                          <a:latin typeface="Nexa Bold"/>
                        </a:defRPr>
                      </a:pPr>
                      <a:r>
                        <a:t>Alternative Vegeta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9/25/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44501495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Carrefour | P3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9"/>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Boursin</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8820">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38820">
                <a:tc>
                  <a:txBody>
                    <a:bodyPr/>
                    <a:lstStyle/>
                    <a:p>
                      <a:pPr>
                        <a:defRPr sz="800">
                          <a:latin typeface="Nexa Bold"/>
                        </a:defRPr>
                      </a:pPr>
                      <a:r>
                        <a:t>Sa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338820">
                <a:tc>
                  <a:txBody>
                    <a:bodyPr/>
                    <a:lstStyle/>
                    <a:p>
                      <a:pPr>
                        <a:defRPr sz="800">
                          <a:latin typeface="Nexa Bold"/>
                        </a:defRPr>
                      </a:pPr>
                      <a:r>
                        <a:t>Classiqu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338820">
                <a:tc>
                  <a:txBody>
                    <a:bodyPr/>
                    <a:lstStyle/>
                    <a:p>
                      <a:pPr>
                        <a:defRPr sz="800">
                          <a:latin typeface="Nexa Bold"/>
                        </a:defRPr>
                      </a:pPr>
                      <a:r>
                        <a:t>Chev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338820">
                <a:tc>
                  <a:txBody>
                    <a:bodyPr/>
                    <a:lstStyle/>
                    <a:p>
                      <a:pPr>
                        <a:defRPr sz="800">
                          <a:latin typeface="Nexa Bold"/>
                        </a:defRPr>
                      </a:pPr>
                      <a:r>
                        <a:t>Frais A Tartin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338820">
                <a:tc>
                  <a:txBody>
                    <a:bodyPr/>
                    <a:lstStyle/>
                    <a:p>
                      <a:pPr>
                        <a:defRPr sz="800">
                          <a:latin typeface="Nexa Bold"/>
                        </a:defRPr>
                      </a:pPr>
                      <a:r>
                        <a:t>Enfan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338820">
                <a:tc>
                  <a:txBody>
                    <a:bodyPr/>
                    <a:lstStyle/>
                    <a:p>
                      <a:pPr>
                        <a:defRPr sz="800">
                          <a:latin typeface="Nexa Bold"/>
                        </a:defRPr>
                      </a:pPr>
                      <a:r>
                        <a:t>Aperitif</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4.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338820">
                <a:tc>
                  <a:txBody>
                    <a:bodyPr/>
                    <a:lstStyle/>
                    <a:p>
                      <a:pPr>
                        <a:defRPr sz="800">
                          <a:latin typeface="Nexa Bold"/>
                        </a:defRPr>
                      </a:pPr>
                      <a:r>
                        <a:t>Breb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338820">
                <a:tc>
                  <a:txBody>
                    <a:bodyPr/>
                    <a:lstStyle/>
                    <a:p>
                      <a:pPr>
                        <a:defRPr sz="800">
                          <a:latin typeface="Nexa Bold"/>
                        </a:defRPr>
                      </a:pPr>
                      <a:r>
                        <a:t>Alternative Vegeta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5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9/25/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213793876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Carrefour | P3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9"/>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Bel</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8820">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4.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38820">
                <a:tc>
                  <a:txBody>
                    <a:bodyPr/>
                    <a:lstStyle/>
                    <a:p>
                      <a:pPr>
                        <a:defRPr sz="800">
                          <a:latin typeface="Nexa Bold"/>
                        </a:defRPr>
                      </a:pPr>
                      <a:r>
                        <a:t>Sa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338820">
                <a:tc>
                  <a:txBody>
                    <a:bodyPr/>
                    <a:lstStyle/>
                    <a:p>
                      <a:pPr>
                        <a:defRPr sz="800">
                          <a:latin typeface="Nexa Bold"/>
                        </a:defRPr>
                      </a:pPr>
                      <a:r>
                        <a:t>Classiqu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338820">
                <a:tc>
                  <a:txBody>
                    <a:bodyPr/>
                    <a:lstStyle/>
                    <a:p>
                      <a:pPr>
                        <a:defRPr sz="800">
                          <a:latin typeface="Nexa Bold"/>
                        </a:defRPr>
                      </a:pPr>
                      <a:r>
                        <a:t>Chev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338820">
                <a:tc>
                  <a:txBody>
                    <a:bodyPr/>
                    <a:lstStyle/>
                    <a:p>
                      <a:pPr>
                        <a:defRPr sz="800">
                          <a:latin typeface="Nexa Bold"/>
                        </a:defRPr>
                      </a:pPr>
                      <a:r>
                        <a:t>Frais A Tartin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338820">
                <a:tc>
                  <a:txBody>
                    <a:bodyPr/>
                    <a:lstStyle/>
                    <a:p>
                      <a:pPr>
                        <a:defRPr sz="800">
                          <a:latin typeface="Nexa Bold"/>
                        </a:defRPr>
                      </a:pPr>
                      <a:r>
                        <a:t>Enfan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338820">
                <a:tc>
                  <a:txBody>
                    <a:bodyPr/>
                    <a:lstStyle/>
                    <a:p>
                      <a:pPr>
                        <a:defRPr sz="800">
                          <a:latin typeface="Nexa Bold"/>
                        </a:defRPr>
                      </a:pPr>
                      <a:r>
                        <a:t>Aperitif</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338820">
                <a:tc>
                  <a:txBody>
                    <a:bodyPr/>
                    <a:lstStyle/>
                    <a:p>
                      <a:pPr>
                        <a:defRPr sz="800">
                          <a:latin typeface="Nexa Bold"/>
                        </a:defRPr>
                      </a:pPr>
                      <a:r>
                        <a:t>Breb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25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45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6.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338820">
                <a:tc>
                  <a:txBody>
                    <a:bodyPr/>
                    <a:lstStyle/>
                    <a:p>
                      <a:pPr>
                        <a:defRPr sz="800">
                          <a:latin typeface="Nexa Bold"/>
                        </a:defRPr>
                      </a:pPr>
                      <a:r>
                        <a:t>Alternative Vegeta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7.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9/25/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408557943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Intermarche | P3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9"/>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Kiri</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8820">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38820">
                <a:tc>
                  <a:txBody>
                    <a:bodyPr/>
                    <a:lstStyle/>
                    <a:p>
                      <a:pPr>
                        <a:defRPr sz="800">
                          <a:latin typeface="Nexa Bold"/>
                        </a:defRPr>
                      </a:pPr>
                      <a:r>
                        <a:t>Sa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338820">
                <a:tc>
                  <a:txBody>
                    <a:bodyPr/>
                    <a:lstStyle/>
                    <a:p>
                      <a:pPr>
                        <a:defRPr sz="800">
                          <a:latin typeface="Nexa Bold"/>
                        </a:defRPr>
                      </a:pPr>
                      <a:r>
                        <a:t>Classiqu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338820">
                <a:tc>
                  <a:txBody>
                    <a:bodyPr/>
                    <a:lstStyle/>
                    <a:p>
                      <a:pPr>
                        <a:defRPr sz="800">
                          <a:latin typeface="Nexa Bold"/>
                        </a:defRPr>
                      </a:pPr>
                      <a:r>
                        <a:t>Frais A Tartin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6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5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338820">
                <a:tc>
                  <a:txBody>
                    <a:bodyPr/>
                    <a:lstStyle/>
                    <a:p>
                      <a:pPr>
                        <a:defRPr sz="800">
                          <a:latin typeface="Nexa Bold"/>
                        </a:defRPr>
                      </a:pPr>
                      <a:r>
                        <a:t>Chev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338820">
                <a:tc>
                  <a:txBody>
                    <a:bodyPr/>
                    <a:lstStyle/>
                    <a:p>
                      <a:pPr>
                        <a:defRPr sz="800">
                          <a:latin typeface="Nexa Bold"/>
                        </a:defRPr>
                      </a:pPr>
                      <a:r>
                        <a:t>Enfan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338820">
                <a:tc>
                  <a:txBody>
                    <a:bodyPr/>
                    <a:lstStyle/>
                    <a:p>
                      <a:pPr>
                        <a:defRPr sz="800">
                          <a:latin typeface="Nexa Bold"/>
                        </a:defRPr>
                      </a:pPr>
                      <a:r>
                        <a:t>Aperitif</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338820">
                <a:tc>
                  <a:txBody>
                    <a:bodyPr/>
                    <a:lstStyle/>
                    <a:p>
                      <a:pPr>
                        <a:defRPr sz="800">
                          <a:latin typeface="Nexa Bold"/>
                        </a:defRPr>
                      </a:pPr>
                      <a:r>
                        <a:t>Breb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338820">
                <a:tc>
                  <a:txBody>
                    <a:bodyPr/>
                    <a:lstStyle/>
                    <a:p>
                      <a:pPr>
                        <a:defRPr sz="800">
                          <a:latin typeface="Nexa Bold"/>
                        </a:defRPr>
                      </a:pPr>
                      <a:r>
                        <a:t>Alternative Vegeta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9/25/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41456995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Intermarche | P3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9"/>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La Vache Qui Rit</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8820">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38820">
                <a:tc>
                  <a:txBody>
                    <a:bodyPr/>
                    <a:lstStyle/>
                    <a:p>
                      <a:pPr>
                        <a:defRPr sz="800">
                          <a:latin typeface="Nexa Bold"/>
                        </a:defRPr>
                      </a:pPr>
                      <a:r>
                        <a:t>Sa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338820">
                <a:tc>
                  <a:txBody>
                    <a:bodyPr/>
                    <a:lstStyle/>
                    <a:p>
                      <a:pPr>
                        <a:defRPr sz="800">
                          <a:latin typeface="Nexa Bold"/>
                        </a:defRPr>
                      </a:pPr>
                      <a:r>
                        <a:t>Classiqu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338820">
                <a:tc>
                  <a:txBody>
                    <a:bodyPr/>
                    <a:lstStyle/>
                    <a:p>
                      <a:pPr>
                        <a:defRPr sz="800">
                          <a:latin typeface="Nexa Bold"/>
                        </a:defRPr>
                      </a:pPr>
                      <a:r>
                        <a:t>Frais A Tartin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338820">
                <a:tc>
                  <a:txBody>
                    <a:bodyPr/>
                    <a:lstStyle/>
                    <a:p>
                      <a:pPr>
                        <a:defRPr sz="800">
                          <a:latin typeface="Nexa Bold"/>
                        </a:defRPr>
                      </a:pPr>
                      <a:r>
                        <a:t>Chev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338820">
                <a:tc>
                  <a:txBody>
                    <a:bodyPr/>
                    <a:lstStyle/>
                    <a:p>
                      <a:pPr>
                        <a:defRPr sz="800">
                          <a:latin typeface="Nexa Bold"/>
                        </a:defRPr>
                      </a:pPr>
                      <a:r>
                        <a:t>Enfan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338820">
                <a:tc>
                  <a:txBody>
                    <a:bodyPr/>
                    <a:lstStyle/>
                    <a:p>
                      <a:pPr>
                        <a:defRPr sz="800">
                          <a:latin typeface="Nexa Bold"/>
                        </a:defRPr>
                      </a:pPr>
                      <a:r>
                        <a:t>Aperitif</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338820">
                <a:tc>
                  <a:txBody>
                    <a:bodyPr/>
                    <a:lstStyle/>
                    <a:p>
                      <a:pPr>
                        <a:defRPr sz="800">
                          <a:latin typeface="Nexa Bold"/>
                        </a:defRPr>
                      </a:pPr>
                      <a:r>
                        <a:t>Breb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338820">
                <a:tc>
                  <a:txBody>
                    <a:bodyPr/>
                    <a:lstStyle/>
                    <a:p>
                      <a:pPr>
                        <a:defRPr sz="800">
                          <a:latin typeface="Nexa Bold"/>
                        </a:defRPr>
                      </a:pPr>
                      <a:r>
                        <a:t>Alternative Vegeta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9/25/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73663579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Intermarche | P3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9"/>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Boursin</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8820">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8.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38820">
                <a:tc>
                  <a:txBody>
                    <a:bodyPr/>
                    <a:lstStyle/>
                    <a:p>
                      <a:pPr>
                        <a:defRPr sz="800">
                          <a:latin typeface="Nexa Bold"/>
                        </a:defRPr>
                      </a:pPr>
                      <a:r>
                        <a:t>Sa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338820">
                <a:tc>
                  <a:txBody>
                    <a:bodyPr/>
                    <a:lstStyle/>
                    <a:p>
                      <a:pPr>
                        <a:defRPr sz="800">
                          <a:latin typeface="Nexa Bold"/>
                        </a:defRPr>
                      </a:pPr>
                      <a:r>
                        <a:t>Classiqu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338820">
                <a:tc>
                  <a:txBody>
                    <a:bodyPr/>
                    <a:lstStyle/>
                    <a:p>
                      <a:pPr>
                        <a:defRPr sz="800">
                          <a:latin typeface="Nexa Bold"/>
                        </a:defRPr>
                      </a:pPr>
                      <a:r>
                        <a:t>Frais A Tartin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338820">
                <a:tc>
                  <a:txBody>
                    <a:bodyPr/>
                    <a:lstStyle/>
                    <a:p>
                      <a:pPr>
                        <a:defRPr sz="800">
                          <a:latin typeface="Nexa Bold"/>
                        </a:defRPr>
                      </a:pPr>
                      <a:r>
                        <a:t>Chev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338820">
                <a:tc>
                  <a:txBody>
                    <a:bodyPr/>
                    <a:lstStyle/>
                    <a:p>
                      <a:pPr>
                        <a:defRPr sz="800">
                          <a:latin typeface="Nexa Bold"/>
                        </a:defRPr>
                      </a:pPr>
                      <a:r>
                        <a:t>Enfan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338820">
                <a:tc>
                  <a:txBody>
                    <a:bodyPr/>
                    <a:lstStyle/>
                    <a:p>
                      <a:pPr>
                        <a:defRPr sz="800">
                          <a:latin typeface="Nexa Bold"/>
                        </a:defRPr>
                      </a:pPr>
                      <a:r>
                        <a:t>Aperitif</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35.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338820">
                <a:tc>
                  <a:txBody>
                    <a:bodyPr/>
                    <a:lstStyle/>
                    <a:p>
                      <a:pPr>
                        <a:defRPr sz="800">
                          <a:latin typeface="Nexa Bold"/>
                        </a:defRPr>
                      </a:pPr>
                      <a:r>
                        <a:t>Breb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338820">
                <a:tc>
                  <a:txBody>
                    <a:bodyPr/>
                    <a:lstStyle/>
                    <a:p>
                      <a:pPr>
                        <a:defRPr sz="800">
                          <a:latin typeface="Nexa Bold"/>
                        </a:defRPr>
                      </a:pPr>
                      <a:r>
                        <a:t>Alternative Vegeta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9/25/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79799860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ales and Growth By Segment | Intermarche | P3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29"/>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b="1">
                          <a:solidFill>
                            <a:srgbClr val="575555"/>
                          </a:solidFill>
                          <a:latin typeface="Nexa Bold"/>
                        </a:defRPr>
                      </a:pPr>
                      <a:r>
                        <a:t>Bel</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38820">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38820">
                <a:tc>
                  <a:txBody>
                    <a:bodyPr/>
                    <a:lstStyle/>
                    <a:p>
                      <a:pPr>
                        <a:defRPr sz="800">
                          <a:latin typeface="Nexa Bold"/>
                        </a:defRPr>
                      </a:pPr>
                      <a:r>
                        <a:t>Salad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4</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2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6</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338820">
                <a:tc>
                  <a:txBody>
                    <a:bodyPr/>
                    <a:lstStyle/>
                    <a:p>
                      <a:pPr>
                        <a:defRPr sz="800">
                          <a:latin typeface="Nexa Bold"/>
                        </a:defRPr>
                      </a:pPr>
                      <a:r>
                        <a:t>Classiqu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1</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338820">
                <a:tc>
                  <a:txBody>
                    <a:bodyPr/>
                    <a:lstStyle/>
                    <a:p>
                      <a:pPr>
                        <a:defRPr sz="800">
                          <a:latin typeface="Nexa Bold"/>
                        </a:defRPr>
                      </a:pPr>
                      <a:r>
                        <a:t>Frais A Tartine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1.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9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5.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338820">
                <a:tc>
                  <a:txBody>
                    <a:bodyPr/>
                    <a:lstStyle/>
                    <a:p>
                      <a:pPr>
                        <a:defRPr sz="800">
                          <a:latin typeface="Nexa Bold"/>
                        </a:defRPr>
                      </a:pPr>
                      <a:r>
                        <a:t>Chevr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338820">
                <a:tc>
                  <a:txBody>
                    <a:bodyPr/>
                    <a:lstStyle/>
                    <a:p>
                      <a:pPr>
                        <a:defRPr sz="800">
                          <a:latin typeface="Nexa Bold"/>
                        </a:defRPr>
                      </a:pPr>
                      <a:r>
                        <a:t>Enfan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2.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9</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3.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338820">
                <a:tc>
                  <a:txBody>
                    <a:bodyPr/>
                    <a:lstStyle/>
                    <a:p>
                      <a:pPr>
                        <a:defRPr sz="800">
                          <a:latin typeface="Nexa Bold"/>
                        </a:defRPr>
                      </a:pPr>
                      <a:r>
                        <a:t>Aperitif</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1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20.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5</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338820">
                <a:tc>
                  <a:txBody>
                    <a:bodyPr/>
                    <a:lstStyle/>
                    <a:p>
                      <a:pPr>
                        <a:defRPr sz="800">
                          <a:latin typeface="Nexa Bold"/>
                        </a:defRPr>
                      </a:pPr>
                      <a:r>
                        <a:t>Breb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338820">
                <a:tc>
                  <a:txBody>
                    <a:bodyPr/>
                    <a:lstStyle/>
                    <a:p>
                      <a:pPr>
                        <a:defRPr sz="800">
                          <a:latin typeface="Nexa Bold"/>
                        </a:defRPr>
                      </a:pPr>
                      <a:r>
                        <a:t>Alternative Vegeta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3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43</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6.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66</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00A097"/>
                          </a:solidFill>
                          <a:latin typeface="Nexa Book"/>
                        </a:defRPr>
                      </a:pPr>
                      <a:r>
                        <a:t>187</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9.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C00000"/>
                          </a:solidFill>
                          <a:latin typeface="Nexa Book"/>
                        </a:defRPr>
                      </a:pPr>
                      <a:r>
                        <a:t>88</a:t>
                      </a: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9/25/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02215905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Total Fromag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Vol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9892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989274">
                <a:tc>
                  <a:txBody>
                    <a:bodyPr/>
                    <a:lstStyle/>
                    <a:p>
                      <a:pPr>
                        <a:defRPr sz="800">
                          <a:latin typeface="Nexa Bold"/>
                        </a:defRPr>
                      </a:pPr>
                      <a:r>
                        <a:t>Carrefou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989274">
                <a:tc>
                  <a:txBody>
                    <a:bodyPr/>
                    <a:lstStyle/>
                    <a:p>
                      <a:pPr>
                        <a:defRPr sz="800">
                          <a:latin typeface="Nexa Bold"/>
                        </a:defRPr>
                      </a:pPr>
                      <a:r>
                        <a:t>Interm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Category | P3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Kiri</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Vol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9/25/2025</a:t>
            </a:fld>
            <a:endParaRPr lang="en-US"/>
          </a:p>
        </p:txBody>
      </p:sp>
    </p:spTree>
    <p:extLst>
      <p:ext uri="{BB962C8B-B14F-4D97-AF65-F5344CB8AC3E}">
        <p14:creationId xmlns:p14="http://schemas.microsoft.com/office/powerpoint/2010/main" val="8912521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Be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9.6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Savenci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1.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Md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1.3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Lactal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6.9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5.4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Aperitif | Carrefour</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05342">
                <a:tc>
                  <a:txBody>
                    <a:bodyPr/>
                    <a:lstStyle/>
                    <a:p>
                      <a:pPr>
                        <a:defRPr sz="900">
                          <a:latin typeface="Nexa Bold"/>
                        </a:defRPr>
                      </a:pPr>
                      <a:r>
                        <a:t>Apericub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405342">
                <a:tc>
                  <a:txBody>
                    <a:bodyPr/>
                    <a:lstStyle/>
                    <a:p>
                      <a:pPr>
                        <a:defRPr sz="900">
                          <a:latin typeface="Nexa Bold"/>
                        </a:defRPr>
                      </a:pPr>
                      <a:r>
                        <a:t>Aperivra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1.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405342">
                <a:tc>
                  <a:txBody>
                    <a:bodyPr/>
                    <a:lstStyle/>
                    <a:p>
                      <a:pPr>
                        <a:defRPr sz="900">
                          <a:latin typeface="Nexa Bold"/>
                        </a:defRPr>
                      </a:pPr>
                      <a: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405342">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1.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405342">
                <a:tc>
                  <a:txBody>
                    <a:bodyPr/>
                    <a:lstStyle/>
                    <a:p>
                      <a:pPr>
                        <a:defRPr sz="900">
                          <a:latin typeface="Nexa Bold"/>
                        </a:defRPr>
                      </a:pPr>
                      <a: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6.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05342">
                <a:tc>
                  <a:txBody>
                    <a:bodyPr/>
                    <a:lstStyle/>
                    <a:p>
                      <a:pPr>
                        <a:defRPr sz="900">
                          <a:latin typeface="Nexa Bold"/>
                        </a:defRPr>
                      </a:pPr>
                      <a:r>
                        <a:t>O'Tapas Aper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3.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05342">
                <a:tc>
                  <a:txBody>
                    <a:bodyPr/>
                    <a:lstStyle/>
                    <a:p>
                      <a:pPr>
                        <a:defRPr sz="900">
                          <a:latin typeface="Nexa Bold"/>
                        </a:defRPr>
                      </a:pPr>
                      <a:r>
                        <a:t>Leerdamm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41.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05342">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8.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9/25/2025</a:t>
            </a:fld>
            <a:endParaRPr lang="en-US"/>
          </a:p>
        </p:txBody>
      </p:sp>
    </p:spTree>
    <p:extLst>
      <p:ext uri="{BB962C8B-B14F-4D97-AF65-F5344CB8AC3E}">
        <p14:creationId xmlns:p14="http://schemas.microsoft.com/office/powerpoint/2010/main" val="32135302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Total Fromag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Vol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9892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989274">
                <a:tc>
                  <a:txBody>
                    <a:bodyPr/>
                    <a:lstStyle/>
                    <a:p>
                      <a:pPr>
                        <a:defRPr sz="800">
                          <a:latin typeface="Nexa Bold"/>
                        </a:defRPr>
                      </a:pPr>
                      <a:r>
                        <a:t>Carrefou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989274">
                <a:tc>
                  <a:txBody>
                    <a:bodyPr/>
                    <a:lstStyle/>
                    <a:p>
                      <a:pPr>
                        <a:defRPr sz="800">
                          <a:latin typeface="Nexa Bold"/>
                        </a:defRPr>
                      </a:pPr>
                      <a:r>
                        <a:t>Interm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Category | P3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La Vache Qui Ri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Vol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9/25/2025</a:t>
            </a:fld>
            <a:endParaRPr lang="en-US"/>
          </a:p>
        </p:txBody>
      </p:sp>
    </p:spTree>
    <p:extLst>
      <p:ext uri="{BB962C8B-B14F-4D97-AF65-F5344CB8AC3E}">
        <p14:creationId xmlns:p14="http://schemas.microsoft.com/office/powerpoint/2010/main" val="132680136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Total Fromag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Vol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9892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989274">
                <a:tc>
                  <a:txBody>
                    <a:bodyPr/>
                    <a:lstStyle/>
                    <a:p>
                      <a:pPr>
                        <a:defRPr sz="800">
                          <a:latin typeface="Nexa Bold"/>
                        </a:defRPr>
                      </a:pPr>
                      <a:r>
                        <a:t>Carrefou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989274">
                <a:tc>
                  <a:txBody>
                    <a:bodyPr/>
                    <a:lstStyle/>
                    <a:p>
                      <a:pPr>
                        <a:defRPr sz="800">
                          <a:latin typeface="Nexa Bold"/>
                        </a:defRPr>
                      </a:pPr>
                      <a:r>
                        <a:t>Interm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Category | P3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Boursin</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Vol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9/25/2025</a:t>
            </a:fld>
            <a:endParaRPr lang="en-US"/>
          </a:p>
        </p:txBody>
      </p:sp>
    </p:spTree>
    <p:extLst>
      <p:ext uri="{BB962C8B-B14F-4D97-AF65-F5344CB8AC3E}">
        <p14:creationId xmlns:p14="http://schemas.microsoft.com/office/powerpoint/2010/main" val="298507435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Total Fromag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Vol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9892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989274">
                <a:tc>
                  <a:txBody>
                    <a:bodyPr/>
                    <a:lstStyle/>
                    <a:p>
                      <a:pPr>
                        <a:defRPr sz="800">
                          <a:latin typeface="Nexa Bold"/>
                        </a:defRPr>
                      </a:pPr>
                      <a:r>
                        <a:t>Carrefou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989274">
                <a:tc>
                  <a:txBody>
                    <a:bodyPr/>
                    <a:lstStyle/>
                    <a:p>
                      <a:pPr>
                        <a:defRPr sz="800">
                          <a:latin typeface="Nexa Bold"/>
                        </a:defRPr>
                      </a:pPr>
                      <a:r>
                        <a:t>Interm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Category | P3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Bel</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Vol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9/25/2025</a:t>
            </a:fld>
            <a:endParaRPr lang="en-US"/>
          </a:p>
        </p:txBody>
      </p:sp>
    </p:spTree>
    <p:extLst>
      <p:ext uri="{BB962C8B-B14F-4D97-AF65-F5344CB8AC3E}">
        <p14:creationId xmlns:p14="http://schemas.microsoft.com/office/powerpoint/2010/main" val="65734538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Soft Chees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Vol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9892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989274">
                <a:tc>
                  <a:txBody>
                    <a:bodyPr/>
                    <a:lstStyle/>
                    <a:p>
                      <a:pPr>
                        <a:defRPr sz="800">
                          <a:latin typeface="Nexa Bold"/>
                        </a:defRPr>
                      </a:pPr>
                      <a:r>
                        <a:t>Carrefou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989274">
                <a:tc>
                  <a:txBody>
                    <a:bodyPr/>
                    <a:lstStyle/>
                    <a:p>
                      <a:pPr>
                        <a:defRPr sz="800">
                          <a:latin typeface="Nexa Bold"/>
                        </a:defRPr>
                      </a:pPr>
                      <a:r>
                        <a:t>Interm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ctor | P3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Kiri</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Vol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9/25/2025</a:t>
            </a:fld>
            <a:endParaRPr lang="en-US"/>
          </a:p>
        </p:txBody>
      </p:sp>
    </p:spTree>
    <p:extLst>
      <p:ext uri="{BB962C8B-B14F-4D97-AF65-F5344CB8AC3E}">
        <p14:creationId xmlns:p14="http://schemas.microsoft.com/office/powerpoint/2010/main" val="373895677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Soft Chees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Vol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9892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989274">
                <a:tc>
                  <a:txBody>
                    <a:bodyPr/>
                    <a:lstStyle/>
                    <a:p>
                      <a:pPr>
                        <a:defRPr sz="800">
                          <a:latin typeface="Nexa Bold"/>
                        </a:defRPr>
                      </a:pPr>
                      <a:r>
                        <a:t>Carrefou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989274">
                <a:tc>
                  <a:txBody>
                    <a:bodyPr/>
                    <a:lstStyle/>
                    <a:p>
                      <a:pPr>
                        <a:defRPr sz="800">
                          <a:latin typeface="Nexa Bold"/>
                        </a:defRPr>
                      </a:pPr>
                      <a:r>
                        <a:t>Interm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ctor | P3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La Vache Qui Ri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Vol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9/25/2025</a:t>
            </a:fld>
            <a:endParaRPr lang="en-US"/>
          </a:p>
        </p:txBody>
      </p:sp>
    </p:spTree>
    <p:extLst>
      <p:ext uri="{BB962C8B-B14F-4D97-AF65-F5344CB8AC3E}">
        <p14:creationId xmlns:p14="http://schemas.microsoft.com/office/powerpoint/2010/main" val="422587387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Soft Chees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Vol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9892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989274">
                <a:tc>
                  <a:txBody>
                    <a:bodyPr/>
                    <a:lstStyle/>
                    <a:p>
                      <a:pPr>
                        <a:defRPr sz="800">
                          <a:latin typeface="Nexa Bold"/>
                        </a:defRPr>
                      </a:pPr>
                      <a:r>
                        <a:t>Carrefou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989274">
                <a:tc>
                  <a:txBody>
                    <a:bodyPr/>
                    <a:lstStyle/>
                    <a:p>
                      <a:pPr>
                        <a:defRPr sz="800">
                          <a:latin typeface="Nexa Bold"/>
                        </a:defRPr>
                      </a:pPr>
                      <a:r>
                        <a:t>Interm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ctor | P3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Boursin</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Vol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9/25/2025</a:t>
            </a:fld>
            <a:endParaRPr lang="en-US"/>
          </a:p>
        </p:txBody>
      </p:sp>
    </p:spTree>
    <p:extLst>
      <p:ext uri="{BB962C8B-B14F-4D97-AF65-F5344CB8AC3E}">
        <p14:creationId xmlns:p14="http://schemas.microsoft.com/office/powerpoint/2010/main" val="197452105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Soft Chees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Vol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9892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989274">
                <a:tc>
                  <a:txBody>
                    <a:bodyPr/>
                    <a:lstStyle/>
                    <a:p>
                      <a:pPr>
                        <a:defRPr sz="800">
                          <a:latin typeface="Nexa Bold"/>
                        </a:defRPr>
                      </a:pPr>
                      <a:r>
                        <a:t>Carrefou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989274">
                <a:tc>
                  <a:txBody>
                    <a:bodyPr/>
                    <a:lstStyle/>
                    <a:p>
                      <a:pPr>
                        <a:defRPr sz="800">
                          <a:latin typeface="Nexa Bold"/>
                        </a:defRPr>
                      </a:pPr>
                      <a:r>
                        <a:t>Interm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ctor | P3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Bel</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Vol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9/25/2025</a:t>
            </a:fld>
            <a:endParaRPr lang="en-US"/>
          </a:p>
        </p:txBody>
      </p:sp>
    </p:spTree>
    <p:extLst>
      <p:ext uri="{BB962C8B-B14F-4D97-AF65-F5344CB8AC3E}">
        <p14:creationId xmlns:p14="http://schemas.microsoft.com/office/powerpoint/2010/main" val="201438959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Aperitif</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Vol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9892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989274">
                <a:tc>
                  <a:txBody>
                    <a:bodyPr/>
                    <a:lstStyle/>
                    <a:p>
                      <a:pPr>
                        <a:defRPr sz="800">
                          <a:latin typeface="Nexa Bold"/>
                        </a:defRPr>
                      </a:pPr>
                      <a:r>
                        <a:t>Carrefou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989274">
                <a:tc>
                  <a:txBody>
                    <a:bodyPr/>
                    <a:lstStyle/>
                    <a:p>
                      <a:pPr>
                        <a:defRPr sz="800">
                          <a:latin typeface="Nexa Bold"/>
                        </a:defRPr>
                      </a:pPr>
                      <a:r>
                        <a:t>Interm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ctor | P3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Boursin</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Vol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5.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4.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5.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9/25/2025</a:t>
            </a:fld>
            <a:endParaRPr lang="en-US"/>
          </a:p>
        </p:txBody>
      </p:sp>
    </p:spTree>
    <p:extLst>
      <p:ext uri="{BB962C8B-B14F-4D97-AF65-F5344CB8AC3E}">
        <p14:creationId xmlns:p14="http://schemas.microsoft.com/office/powerpoint/2010/main" val="224895132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Aperitif</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Vol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9892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989274">
                <a:tc>
                  <a:txBody>
                    <a:bodyPr/>
                    <a:lstStyle/>
                    <a:p>
                      <a:pPr>
                        <a:defRPr sz="800">
                          <a:latin typeface="Nexa Bold"/>
                        </a:defRPr>
                      </a:pPr>
                      <a:r>
                        <a:t>Carrefou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989274">
                <a:tc>
                  <a:txBody>
                    <a:bodyPr/>
                    <a:lstStyle/>
                    <a:p>
                      <a:pPr>
                        <a:defRPr sz="800">
                          <a:latin typeface="Nexa Bold"/>
                        </a:defRPr>
                      </a:pPr>
                      <a:r>
                        <a:t>Interm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ctor | P3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Bel</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Vol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9/25/2025</a:t>
            </a:fld>
            <a:endParaRPr lang="en-US"/>
          </a:p>
        </p:txBody>
      </p:sp>
    </p:spTree>
    <p:extLst>
      <p:ext uri="{BB962C8B-B14F-4D97-AF65-F5344CB8AC3E}">
        <p14:creationId xmlns:p14="http://schemas.microsoft.com/office/powerpoint/2010/main" val="212277276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Enfant</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Vol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9892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989274">
                <a:tc>
                  <a:txBody>
                    <a:bodyPr/>
                    <a:lstStyle/>
                    <a:p>
                      <a:pPr>
                        <a:defRPr sz="800">
                          <a:latin typeface="Nexa Bold"/>
                        </a:defRPr>
                      </a:pPr>
                      <a:r>
                        <a:t>Carrefou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989274">
                <a:tc>
                  <a:txBody>
                    <a:bodyPr/>
                    <a:lstStyle/>
                    <a:p>
                      <a:pPr>
                        <a:defRPr sz="800">
                          <a:latin typeface="Nexa Bold"/>
                        </a:defRPr>
                      </a:pPr>
                      <a:r>
                        <a:t>Interm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gment | P3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Kiri</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Vol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9/25/2025</a:t>
            </a:fld>
            <a:endParaRPr lang="en-US"/>
          </a:p>
        </p:txBody>
      </p:sp>
    </p:spTree>
    <p:extLst>
      <p:ext uri="{BB962C8B-B14F-4D97-AF65-F5344CB8AC3E}">
        <p14:creationId xmlns:p14="http://schemas.microsoft.com/office/powerpoint/2010/main" val="10830129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10684">
                <a:tc>
                  <a:txBody>
                    <a:bodyPr/>
                    <a:lstStyle/>
                    <a:p>
                      <a:pPr>
                        <a:defRPr sz="900">
                          <a:latin typeface="Nexa Bold"/>
                        </a:defRPr>
                      </a:pPr>
                      <a:r>
                        <a:t>Be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9.4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810684">
                <a:tc>
                  <a:txBody>
                    <a:bodyPr/>
                    <a:lstStyle/>
                    <a:p>
                      <a:pPr>
                        <a:defRPr sz="900">
                          <a:latin typeface="Nexa Bold"/>
                        </a:defRPr>
                      </a:pPr>
                      <a:r>
                        <a:t>Savenci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4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810684">
                <a:tc>
                  <a:txBody>
                    <a:bodyPr/>
                    <a:lstStyle/>
                    <a:p>
                      <a:pPr>
                        <a:defRPr sz="900">
                          <a:latin typeface="Nexa Bold"/>
                        </a:defRPr>
                      </a:pPr>
                      <a:r>
                        <a:t>Md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9.7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810684">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32.7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6</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Aperitif | Intermarch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0456">
                <a:tc>
                  <a:txBody>
                    <a:bodyPr/>
                    <a:lstStyle/>
                    <a:p>
                      <a:pPr>
                        <a:defRPr sz="900">
                          <a:latin typeface="Nexa Bold"/>
                        </a:defRPr>
                      </a:pPr>
                      <a:r>
                        <a:t>Apericub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540456">
                <a:tc>
                  <a:txBody>
                    <a:bodyPr/>
                    <a:lstStyle/>
                    <a:p>
                      <a:pPr>
                        <a:defRPr sz="900">
                          <a:latin typeface="Nexa Bold"/>
                        </a:defRPr>
                      </a:pPr>
                      <a:r>
                        <a:t>Aperivra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540456">
                <a:tc>
                  <a:txBody>
                    <a:bodyPr/>
                    <a:lstStyle/>
                    <a:p>
                      <a:pPr>
                        <a:defRPr sz="900">
                          <a:latin typeface="Nexa Bold"/>
                        </a:defRPr>
                      </a:pPr>
                      <a: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5.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540456">
                <a:tc>
                  <a:txBody>
                    <a:bodyPr/>
                    <a:lstStyle/>
                    <a:p>
                      <a:pPr>
                        <a:defRPr sz="900">
                          <a:latin typeface="Nexa Bold"/>
                        </a:defRPr>
                      </a:pPr>
                      <a: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6.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540456">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540456">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32.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9/25/2025</a:t>
            </a:fld>
            <a:endParaRPr lang="en-US"/>
          </a:p>
        </p:txBody>
      </p:sp>
    </p:spTree>
    <p:extLst>
      <p:ext uri="{BB962C8B-B14F-4D97-AF65-F5344CB8AC3E}">
        <p14:creationId xmlns:p14="http://schemas.microsoft.com/office/powerpoint/2010/main" val="253694104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Enfant</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Vol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9892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989274">
                <a:tc>
                  <a:txBody>
                    <a:bodyPr/>
                    <a:lstStyle/>
                    <a:p>
                      <a:pPr>
                        <a:defRPr sz="800">
                          <a:latin typeface="Nexa Bold"/>
                        </a:defRPr>
                      </a:pPr>
                      <a:r>
                        <a:t>Carrefou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989274">
                <a:tc>
                  <a:txBody>
                    <a:bodyPr/>
                    <a:lstStyle/>
                    <a:p>
                      <a:pPr>
                        <a:defRPr sz="800">
                          <a:latin typeface="Nexa Bold"/>
                        </a:defRPr>
                      </a:pPr>
                      <a:r>
                        <a:t>Interm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gment | P3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La Vache Qui Ri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Vol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9/25/2025</a:t>
            </a:fld>
            <a:endParaRPr lang="en-US"/>
          </a:p>
        </p:txBody>
      </p:sp>
    </p:spTree>
    <p:extLst>
      <p:ext uri="{BB962C8B-B14F-4D97-AF65-F5344CB8AC3E}">
        <p14:creationId xmlns:p14="http://schemas.microsoft.com/office/powerpoint/2010/main" val="174770290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Enfant</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Vol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9892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989274">
                <a:tc>
                  <a:txBody>
                    <a:bodyPr/>
                    <a:lstStyle/>
                    <a:p>
                      <a:pPr>
                        <a:defRPr sz="800">
                          <a:latin typeface="Nexa Bold"/>
                        </a:defRPr>
                      </a:pPr>
                      <a:r>
                        <a:t>Carrefou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989274">
                <a:tc>
                  <a:txBody>
                    <a:bodyPr/>
                    <a:lstStyle/>
                    <a:p>
                      <a:pPr>
                        <a:defRPr sz="800">
                          <a:latin typeface="Nexa Bold"/>
                        </a:defRPr>
                      </a:pPr>
                      <a:r>
                        <a:t>Interm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gment | P3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Bel</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Vol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9/25/2025</a:t>
            </a:fld>
            <a:endParaRPr lang="en-US"/>
          </a:p>
        </p:txBody>
      </p:sp>
    </p:spTree>
    <p:extLst>
      <p:ext uri="{BB962C8B-B14F-4D97-AF65-F5344CB8AC3E}">
        <p14:creationId xmlns:p14="http://schemas.microsoft.com/office/powerpoint/2010/main" val="393593432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Frais A Tartiner</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Vol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9892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989274">
                <a:tc>
                  <a:txBody>
                    <a:bodyPr/>
                    <a:lstStyle/>
                    <a:p>
                      <a:pPr>
                        <a:defRPr sz="800">
                          <a:latin typeface="Nexa Bold"/>
                        </a:defRPr>
                      </a:pPr>
                      <a:r>
                        <a:t>Carrefou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989274">
                <a:tc>
                  <a:txBody>
                    <a:bodyPr/>
                    <a:lstStyle/>
                    <a:p>
                      <a:pPr>
                        <a:defRPr sz="800">
                          <a:latin typeface="Nexa Bold"/>
                        </a:defRPr>
                      </a:pPr>
                      <a:r>
                        <a:t>Interm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gment | P3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Kiri</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Vol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9/25/2025</a:t>
            </a:fld>
            <a:endParaRPr lang="en-US"/>
          </a:p>
        </p:txBody>
      </p:sp>
    </p:spTree>
    <p:extLst>
      <p:ext uri="{BB962C8B-B14F-4D97-AF65-F5344CB8AC3E}">
        <p14:creationId xmlns:p14="http://schemas.microsoft.com/office/powerpoint/2010/main" val="94330620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Frais A Tartiner</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Vol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9892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989274">
                <a:tc>
                  <a:txBody>
                    <a:bodyPr/>
                    <a:lstStyle/>
                    <a:p>
                      <a:pPr>
                        <a:defRPr sz="800">
                          <a:latin typeface="Nexa Bold"/>
                        </a:defRPr>
                      </a:pPr>
                      <a:r>
                        <a:t>Carrefou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989274">
                <a:tc>
                  <a:txBody>
                    <a:bodyPr/>
                    <a:lstStyle/>
                    <a:p>
                      <a:pPr>
                        <a:defRPr sz="800">
                          <a:latin typeface="Nexa Bold"/>
                        </a:defRPr>
                      </a:pPr>
                      <a:r>
                        <a:t>Interm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gment | P3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La Vache Qui Ri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Vol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9/25/2025</a:t>
            </a:fld>
            <a:endParaRPr lang="en-US"/>
          </a:p>
        </p:txBody>
      </p:sp>
    </p:spTree>
    <p:extLst>
      <p:ext uri="{BB962C8B-B14F-4D97-AF65-F5344CB8AC3E}">
        <p14:creationId xmlns:p14="http://schemas.microsoft.com/office/powerpoint/2010/main" val="241638663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Frais A Tartiner</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Vol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9892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989274">
                <a:tc>
                  <a:txBody>
                    <a:bodyPr/>
                    <a:lstStyle/>
                    <a:p>
                      <a:pPr>
                        <a:defRPr sz="800">
                          <a:latin typeface="Nexa Bold"/>
                        </a:defRPr>
                      </a:pPr>
                      <a:r>
                        <a:t>Carrefou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989274">
                <a:tc>
                  <a:txBody>
                    <a:bodyPr/>
                    <a:lstStyle/>
                    <a:p>
                      <a:pPr>
                        <a:defRPr sz="800">
                          <a:latin typeface="Nexa Bold"/>
                        </a:defRPr>
                      </a:pPr>
                      <a:r>
                        <a:t>Interm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gment | P3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Boursin</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Vol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9/25/2025</a:t>
            </a:fld>
            <a:endParaRPr lang="en-US"/>
          </a:p>
        </p:txBody>
      </p:sp>
    </p:spTree>
    <p:extLst>
      <p:ext uri="{BB962C8B-B14F-4D97-AF65-F5344CB8AC3E}">
        <p14:creationId xmlns:p14="http://schemas.microsoft.com/office/powerpoint/2010/main" val="303368120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Frais A Tartiner</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Vol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9892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989274">
                <a:tc>
                  <a:txBody>
                    <a:bodyPr/>
                    <a:lstStyle/>
                    <a:p>
                      <a:pPr>
                        <a:defRPr sz="800">
                          <a:latin typeface="Nexa Bold"/>
                        </a:defRPr>
                      </a:pPr>
                      <a:r>
                        <a:t>Carrefou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989274">
                <a:tc>
                  <a:txBody>
                    <a:bodyPr/>
                    <a:lstStyle/>
                    <a:p>
                      <a:pPr>
                        <a:defRPr sz="800">
                          <a:latin typeface="Nexa Bold"/>
                        </a:defRPr>
                      </a:pPr>
                      <a:r>
                        <a:t>Interm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gment | P3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Bel</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Vol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9/25/2025</a:t>
            </a:fld>
            <a:endParaRPr lang="en-US"/>
          </a:p>
        </p:txBody>
      </p:sp>
    </p:spTree>
    <p:extLst>
      <p:ext uri="{BB962C8B-B14F-4D97-AF65-F5344CB8AC3E}">
        <p14:creationId xmlns:p14="http://schemas.microsoft.com/office/powerpoint/2010/main" val="217247231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Salad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Vol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9892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989274">
                <a:tc>
                  <a:txBody>
                    <a:bodyPr/>
                    <a:lstStyle/>
                    <a:p>
                      <a:pPr>
                        <a:defRPr sz="800">
                          <a:latin typeface="Nexa Bold"/>
                        </a:defRPr>
                      </a:pPr>
                      <a:r>
                        <a:t>Carrefou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989274">
                <a:tc>
                  <a:txBody>
                    <a:bodyPr/>
                    <a:lstStyle/>
                    <a:p>
                      <a:pPr>
                        <a:defRPr sz="800">
                          <a:latin typeface="Nexa Bold"/>
                        </a:defRPr>
                      </a:pPr>
                      <a:r>
                        <a:t>Interm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gment | P3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Boursin</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Vol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9/25/2025</a:t>
            </a:fld>
            <a:endParaRPr lang="en-US"/>
          </a:p>
        </p:txBody>
      </p:sp>
    </p:spTree>
    <p:extLst>
      <p:ext uri="{BB962C8B-B14F-4D97-AF65-F5344CB8AC3E}">
        <p14:creationId xmlns:p14="http://schemas.microsoft.com/office/powerpoint/2010/main" val="280144475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defRPr sz="800">
                          <a:solidFill>
                            <a:srgbClr val="575555"/>
                          </a:solidFill>
                          <a:latin typeface="Nexa Bold"/>
                        </a:defRPr>
                      </a:pPr>
                      <a:r>
                        <a:t>Salade</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Value Sales '000 000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1">
                          <a:solidFill>
                            <a:srgbClr val="575555"/>
                          </a:solidFill>
                          <a:latin typeface="Nexa Bold"/>
                        </a:defRPr>
                      </a:pPr>
                      <a:r>
                        <a:t>Av Price/Vol (€)</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989274">
                <a:tc>
                  <a:txBody>
                    <a:bodyPr/>
                    <a:lstStyle/>
                    <a:p>
                      <a:pPr>
                        <a:defRPr sz="800">
                          <a:latin typeface="Nexa Bold"/>
                        </a:defRPr>
                      </a:pPr>
                      <a: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989274">
                <a:tc>
                  <a:txBody>
                    <a:bodyPr/>
                    <a:lstStyle/>
                    <a:p>
                      <a:pPr>
                        <a:defRPr sz="800">
                          <a:latin typeface="Nexa Bold"/>
                        </a:defRPr>
                      </a:pPr>
                      <a:r>
                        <a:t>Carrefour</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989274">
                <a:tc>
                  <a:txBody>
                    <a:bodyPr/>
                    <a:lstStyle/>
                    <a:p>
                      <a:pPr>
                        <a:defRPr sz="800">
                          <a:latin typeface="Nexa Bold"/>
                        </a:defRPr>
                      </a:pPr>
                      <a:r>
                        <a:t>Intermarch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pPr>
              <a:defRPr sz="1200">
                <a:latin typeface="Nexa Bold"/>
              </a:defRPr>
            </a:pPr>
            <a:r>
              <a:t>Share and Growth By Retailer | Total Segment | P3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pPr>
              <a:defRPr sz="1600">
                <a:latin typeface="Nexa Bold"/>
              </a:defRPr>
            </a:pPr>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algn="ctr">
                        <a:defRPr sz="800">
                          <a:solidFill>
                            <a:srgbClr val="575555"/>
                          </a:solidFill>
                          <a:latin typeface="Nexa Bold"/>
                        </a:defRPr>
                      </a:pPr>
                      <a:r>
                        <a:t>Bel</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defRPr sz="800" b="1">
                          <a:solidFill>
                            <a:srgbClr val="575555"/>
                          </a:solidFill>
                          <a:latin typeface="Nexa Bold"/>
                        </a:defRPr>
                      </a:pPr>
                      <a:r>
                        <a:t>Value Sales '000 000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t>Av Price/Vol (€)</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8.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991020">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0.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9/25/2025</a:t>
            </a:fld>
            <a:endParaRPr lang="en-US"/>
          </a:p>
        </p:txBody>
      </p:sp>
    </p:spTree>
    <p:extLst>
      <p:ext uri="{BB962C8B-B14F-4D97-AF65-F5344CB8AC3E}">
        <p14:creationId xmlns:p14="http://schemas.microsoft.com/office/powerpoint/2010/main" val="106489076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Total Fromage | RETAILER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256410">
                <a:tc>
                  <a:txBody>
                    <a:bodyPr/>
                    <a:lstStyle/>
                    <a:p>
                      <a:pPr algn="ctr">
                        <a:defRPr sz="900">
                          <a:latin typeface="Nexa Book (Body)"/>
                        </a:defRPr>
                      </a:pPr>
                      <a:r>
                        <a:rPr sz="900">
                          <a:latin typeface="Nexa Book (Body)"/>
                        </a:rPr>
                        <a:t>1</a:t>
                      </a:r>
                    </a:p>
                  </a:txBody>
                  <a:tcPr marL="36000" marR="36000" marT="4763" marB="0" anchor="ctr">
                    <a:solidFill>
                      <a:srgbClr val="CBEAE7"/>
                    </a:solidFill>
                  </a:tcPr>
                </a:tc>
                <a:tc>
                  <a:txBody>
                    <a:bodyPr/>
                    <a:lstStyle/>
                    <a:p>
                      <a:pPr algn="l">
                        <a:defRPr sz="900">
                          <a:latin typeface="Nexa Book (Body)"/>
                        </a:defRPr>
                      </a:pPr>
                      <a:r>
                        <a:rPr sz="900">
                          <a:latin typeface="Nexa Book (Body)"/>
                        </a:rPr>
                        <a:t>Private Label/Carrefour</a:t>
                      </a:r>
                    </a:p>
                  </a:txBody>
                  <a:tcPr marL="36000" marR="36000" marT="4763" marB="0" anchor="ctr">
                    <a:solidFill>
                      <a:srgbClr val="CBEAE7"/>
                    </a:solidFill>
                  </a:tcPr>
                </a:tc>
                <a:extLst>
                  <a:ext uri="{0D108BD9-81ED-4DB2-BD59-A6C34878D82A}">
                    <a16:rowId xmlns:a16="http://schemas.microsoft.com/office/drawing/2014/main" val="3049926520"/>
                  </a:ext>
                </a:extLst>
              </a:tr>
              <a:tr h="256410">
                <a:tc>
                  <a:txBody>
                    <a:bodyPr/>
                    <a:lstStyle/>
                    <a:p>
                      <a:pPr algn="ctr">
                        <a:defRPr sz="900">
                          <a:latin typeface="Nexa Book (Body)"/>
                        </a:defRPr>
                      </a:pPr>
                      <a:r>
                        <a:rPr sz="900">
                          <a:latin typeface="Nexa Book (Body)"/>
                        </a:rPr>
                        <a:t>2</a:t>
                      </a:r>
                    </a:p>
                  </a:txBody>
                  <a:tcPr marL="36000" marR="36000" marT="4763" marB="0" anchor="ctr">
                    <a:solidFill>
                      <a:srgbClr val="FFBFBF"/>
                    </a:solidFill>
                  </a:tcPr>
                </a:tc>
                <a:tc>
                  <a:txBody>
                    <a:bodyPr/>
                    <a:lstStyle/>
                    <a:p>
                      <a:pPr algn="l">
                        <a:defRPr sz="900">
                          <a:latin typeface="Nexa Book (Body)"/>
                        </a:defRPr>
                      </a:pPr>
                      <a:r>
                        <a:rPr sz="900">
                          <a:latin typeface="Nexa Book (Body)"/>
                        </a:rPr>
                        <a:t>Private Label/Intermarche</a:t>
                      </a:r>
                    </a:p>
                  </a:txBody>
                  <a:tcPr marL="36000" marR="36000" marT="4763" marB="0" anchor="ctr">
                    <a:solidFill>
                      <a:srgbClr val="FFBFBF"/>
                    </a:solidFill>
                  </a:tcPr>
                </a:tc>
                <a:extLst>
                  <a:ext uri="{0D108BD9-81ED-4DB2-BD59-A6C34878D82A}">
                    <a16:rowId xmlns:a16="http://schemas.microsoft.com/office/drawing/2014/main" val="3518559538"/>
                  </a:ext>
                </a:extLst>
              </a:tr>
              <a:tr h="256410">
                <a:tc>
                  <a:txBody>
                    <a:bodyPr/>
                    <a:lstStyle/>
                    <a:p>
                      <a:pPr algn="ctr">
                        <a:defRPr sz="900">
                          <a:latin typeface="Nexa Book (Body)"/>
                        </a:defRPr>
                      </a:pPr>
                      <a:r>
                        <a:rPr sz="900">
                          <a:latin typeface="Nexa Book (Body)"/>
                        </a:rPr>
                        <a:t>3</a:t>
                      </a:r>
                    </a:p>
                  </a:txBody>
                  <a:tcPr marL="36000" marR="36000" marT="4763" marB="0" anchor="ctr">
                    <a:solidFill>
                      <a:srgbClr val="CBEAE7"/>
                    </a:solidFill>
                  </a:tcPr>
                </a:tc>
                <a:tc>
                  <a:txBody>
                    <a:bodyPr/>
                    <a:lstStyle/>
                    <a:p>
                      <a:pPr algn="l">
                        <a:defRPr sz="900">
                          <a:latin typeface="Nexa Book (Body)"/>
                        </a:defRPr>
                      </a:pPr>
                      <a:r>
                        <a:rPr sz="900">
                          <a:latin typeface="Nexa Book (Body)"/>
                        </a:rPr>
                        <a:t>All Others/Carrefour</a:t>
                      </a:r>
                    </a:p>
                  </a:txBody>
                  <a:tcPr marL="36000" marR="36000" marT="4763" marB="0" anchor="ctr">
                    <a:solidFill>
                      <a:srgbClr val="CBEAE7"/>
                    </a:solidFill>
                  </a:tcPr>
                </a:tc>
                <a:extLst>
                  <a:ext uri="{0D108BD9-81ED-4DB2-BD59-A6C34878D82A}">
                    <a16:rowId xmlns:a16="http://schemas.microsoft.com/office/drawing/2014/main" val="3886752891"/>
                  </a:ext>
                </a:extLst>
              </a:tr>
              <a:tr h="256410">
                <a:tc>
                  <a:txBody>
                    <a:bodyPr/>
                    <a:lstStyle/>
                    <a:p>
                      <a:pPr algn="ctr">
                        <a:defRPr sz="900">
                          <a:latin typeface="Nexa Book (Body)"/>
                        </a:defRPr>
                      </a:pPr>
                      <a:r>
                        <a:rPr sz="900">
                          <a:latin typeface="Nexa Book (Body)"/>
                        </a:rPr>
                        <a:t>4</a:t>
                      </a:r>
                    </a:p>
                  </a:txBody>
                  <a:tcPr marL="36000" marR="36000" marT="4763" marB="0" anchor="ctr">
                    <a:solidFill>
                      <a:srgbClr val="FFBFBF"/>
                    </a:solidFill>
                  </a:tcPr>
                </a:tc>
                <a:tc>
                  <a:txBody>
                    <a:bodyPr/>
                    <a:lstStyle/>
                    <a:p>
                      <a:pPr algn="l">
                        <a:defRPr sz="900">
                          <a:latin typeface="Nexa Book (Body)"/>
                        </a:defRPr>
                      </a:pPr>
                      <a:r>
                        <a:rPr sz="900">
                          <a:latin typeface="Nexa Book (Body)"/>
                        </a:rPr>
                        <a:t>President/Carrefour</a:t>
                      </a:r>
                    </a:p>
                  </a:txBody>
                  <a:tcPr marL="36000" marR="36000" marT="4763" marB="0" anchor="ctr">
                    <a:solidFill>
                      <a:srgbClr val="FFBFBF"/>
                    </a:solidFill>
                  </a:tcPr>
                </a:tc>
                <a:extLst>
                  <a:ext uri="{0D108BD9-81ED-4DB2-BD59-A6C34878D82A}">
                    <a16:rowId xmlns:a16="http://schemas.microsoft.com/office/drawing/2014/main" val="3477306869"/>
                  </a:ext>
                </a:extLst>
              </a:tr>
              <a:tr h="256410">
                <a:tc>
                  <a:txBody>
                    <a:bodyPr/>
                    <a:lstStyle/>
                    <a:p>
                      <a:pPr algn="ctr">
                        <a:defRPr sz="900">
                          <a:latin typeface="Nexa Book (Body)"/>
                        </a:defRPr>
                      </a:pPr>
                      <a:r>
                        <a:rPr sz="900">
                          <a:latin typeface="Nexa Book (Body)"/>
                        </a:rPr>
                        <a:t>5</a:t>
                      </a:r>
                    </a:p>
                  </a:txBody>
                  <a:tcPr marL="36000" marR="36000" marT="4763" marB="0" anchor="ctr">
                    <a:solidFill>
                      <a:srgbClr val="FFBFBF"/>
                    </a:solidFill>
                  </a:tcPr>
                </a:tc>
                <a:tc>
                  <a:txBody>
                    <a:bodyPr/>
                    <a:lstStyle/>
                    <a:p>
                      <a:pPr algn="l">
                        <a:defRPr sz="900">
                          <a:latin typeface="Nexa Book (Body)"/>
                        </a:defRPr>
                      </a:pPr>
                      <a:r>
                        <a:rPr sz="900">
                          <a:latin typeface="Nexa Book (Body)"/>
                        </a:rPr>
                        <a:t>President/Intermarche</a:t>
                      </a:r>
                    </a:p>
                  </a:txBody>
                  <a:tcPr marL="36000" marR="36000" marT="4763" marB="0" anchor="ctr">
                    <a:solidFill>
                      <a:srgbClr val="FFBFBF"/>
                    </a:solidFill>
                  </a:tcPr>
                </a:tc>
                <a:extLst>
                  <a:ext uri="{0D108BD9-81ED-4DB2-BD59-A6C34878D82A}">
                    <a16:rowId xmlns:a16="http://schemas.microsoft.com/office/drawing/2014/main" val="264026324"/>
                  </a:ext>
                </a:extLst>
              </a:tr>
              <a:tr h="256410">
                <a:tc>
                  <a:txBody>
                    <a:bodyPr/>
                    <a:lstStyle/>
                    <a:p>
                      <a:pPr algn="ctr">
                        <a:defRPr sz="900">
                          <a:latin typeface="Nexa Book (Body)"/>
                        </a:defRPr>
                      </a:pPr>
                      <a:r>
                        <a:rPr sz="900">
                          <a:latin typeface="Nexa Book (Body)"/>
                        </a:rPr>
                        <a:t>6</a:t>
                      </a:r>
                    </a:p>
                  </a:txBody>
                  <a:tcPr marL="36000" marR="36000" marT="4763" marB="0" anchor="ctr">
                    <a:solidFill>
                      <a:srgbClr val="FFBFBF"/>
                    </a:solidFill>
                  </a:tcPr>
                </a:tc>
                <a:tc>
                  <a:txBody>
                    <a:bodyPr/>
                    <a:lstStyle/>
                    <a:p>
                      <a:pPr algn="l">
                        <a:defRPr sz="900">
                          <a:latin typeface="Nexa Book (Body)"/>
                        </a:defRPr>
                      </a:pPr>
                      <a:r>
                        <a:rPr sz="900">
                          <a:latin typeface="Nexa Book (Body)"/>
                        </a:rPr>
                        <a:t>Soignon/Carrefour</a:t>
                      </a:r>
                    </a:p>
                  </a:txBody>
                  <a:tcPr marL="36000" marR="36000" marT="4763" marB="0" anchor="ctr">
                    <a:solidFill>
                      <a:srgbClr val="FFBFBF"/>
                    </a:solidFill>
                  </a:tcPr>
                </a:tc>
                <a:extLst>
                  <a:ext uri="{0D108BD9-81ED-4DB2-BD59-A6C34878D82A}">
                    <a16:rowId xmlns:a16="http://schemas.microsoft.com/office/drawing/2014/main" val="613793393"/>
                  </a:ext>
                </a:extLst>
              </a:tr>
              <a:tr h="256410">
                <a:tc>
                  <a:txBody>
                    <a:bodyPr/>
                    <a:lstStyle/>
                    <a:p>
                      <a:pPr algn="ctr">
                        <a:defRPr sz="900">
                          <a:latin typeface="Nexa Book (Body)"/>
                        </a:defRPr>
                      </a:pPr>
                      <a:r>
                        <a:rPr sz="900">
                          <a:latin typeface="Nexa Book (Body)"/>
                        </a:rPr>
                        <a:t>7</a:t>
                      </a:r>
                    </a:p>
                  </a:txBody>
                  <a:tcPr marL="36000" marR="36000" marT="4763" marB="0" anchor="ctr">
                    <a:solidFill>
                      <a:srgbClr val="FFBFBF"/>
                    </a:solidFill>
                  </a:tcPr>
                </a:tc>
                <a:tc>
                  <a:txBody>
                    <a:bodyPr/>
                    <a:lstStyle/>
                    <a:p>
                      <a:pPr algn="l">
                        <a:defRPr sz="900">
                          <a:latin typeface="Nexa Book (Body)"/>
                        </a:defRPr>
                      </a:pPr>
                      <a:r>
                        <a:rPr sz="900">
                          <a:latin typeface="Nexa Book (Body)"/>
                        </a:rPr>
                        <a:t>Soignon/Intermarche</a:t>
                      </a:r>
                    </a:p>
                  </a:txBody>
                  <a:tcPr marL="36000" marR="36000" marT="4763" marB="0" anchor="ctr">
                    <a:solidFill>
                      <a:srgbClr val="FFBFBF"/>
                    </a:solidFill>
                  </a:tcPr>
                </a:tc>
                <a:extLst>
                  <a:ext uri="{0D108BD9-81ED-4DB2-BD59-A6C34878D82A}">
                    <a16:rowId xmlns:a16="http://schemas.microsoft.com/office/drawing/2014/main" val="4246246309"/>
                  </a:ext>
                </a:extLst>
              </a:tr>
              <a:tr h="256410">
                <a:tc>
                  <a:txBody>
                    <a:bodyPr/>
                    <a:lstStyle/>
                    <a:p>
                      <a:pPr algn="ctr">
                        <a:defRPr sz="900">
                          <a:latin typeface="Nexa Book (Body)"/>
                        </a:defRPr>
                      </a:pPr>
                      <a:r>
                        <a:rPr sz="900">
                          <a:latin typeface="Nexa Book (Body)"/>
                        </a:rPr>
                        <a:t>8</a:t>
                      </a:r>
                    </a:p>
                  </a:txBody>
                  <a:tcPr marL="36000" marR="36000" marT="4763" marB="0" anchor="ctr">
                    <a:solidFill>
                      <a:srgbClr val="CBEAE7"/>
                    </a:solidFill>
                  </a:tcPr>
                </a:tc>
                <a:tc>
                  <a:txBody>
                    <a:bodyPr/>
                    <a:lstStyle/>
                    <a:p>
                      <a:pPr algn="l">
                        <a:defRPr sz="900">
                          <a:latin typeface="Nexa Book (Body)"/>
                        </a:defRPr>
                      </a:pPr>
                      <a:r>
                        <a:rPr sz="900">
                          <a:latin typeface="Nexa Book (Body)"/>
                        </a:rPr>
                        <a:t>All Others/Intermarche</a:t>
                      </a:r>
                    </a:p>
                  </a:txBody>
                  <a:tcPr marL="36000" marR="36000" marT="4763" marB="0" anchor="ctr">
                    <a:solidFill>
                      <a:srgbClr val="CBEAE7"/>
                    </a:solidFill>
                  </a:tcPr>
                </a:tc>
                <a:extLst>
                  <a:ext uri="{0D108BD9-81ED-4DB2-BD59-A6C34878D82A}">
                    <a16:rowId xmlns:a16="http://schemas.microsoft.com/office/drawing/2014/main" val="418503086"/>
                  </a:ext>
                </a:extLst>
              </a:tr>
              <a:tr h="256410">
                <a:tc>
                  <a:txBody>
                    <a:bodyPr/>
                    <a:lstStyle/>
                    <a:p>
                      <a:pPr algn="ctr">
                        <a:defRPr sz="900">
                          <a:latin typeface="Nexa Book (Body)"/>
                        </a:defRPr>
                      </a:pPr>
                      <a:r>
                        <a:rPr sz="900">
                          <a:latin typeface="Nexa Book (Body)"/>
                        </a:rPr>
                        <a:t>9</a:t>
                      </a:r>
                    </a:p>
                  </a:txBody>
                  <a:tcPr marL="36000" marR="36000" marT="4763" marB="0" anchor="ctr">
                    <a:solidFill>
                      <a:srgbClr val="FFBFBF"/>
                    </a:solidFill>
                  </a:tcPr>
                </a:tc>
                <a:tc>
                  <a:txBody>
                    <a:bodyPr/>
                    <a:lstStyle/>
                    <a:p>
                      <a:pPr algn="l">
                        <a:defRPr sz="900">
                          <a:latin typeface="Nexa Book (Body)"/>
                        </a:defRPr>
                      </a:pPr>
                      <a:r>
                        <a:rPr sz="900">
                          <a:latin typeface="Nexa Book (Body)"/>
                        </a:rPr>
                        <a:t>La Vache Qui Rit/Carrefour</a:t>
                      </a:r>
                    </a:p>
                  </a:txBody>
                  <a:tcPr marL="36000" marR="36000" marT="4763" marB="0" anchor="ctr">
                    <a:solidFill>
                      <a:srgbClr val="FFBFBF"/>
                    </a:solidFill>
                  </a:tcPr>
                </a:tc>
                <a:extLst>
                  <a:ext uri="{0D108BD9-81ED-4DB2-BD59-A6C34878D82A}">
                    <a16:rowId xmlns:a16="http://schemas.microsoft.com/office/drawing/2014/main" val="381854689"/>
                  </a:ext>
                </a:extLst>
              </a:tr>
              <a:tr h="256410">
                <a:tc>
                  <a:txBody>
                    <a:bodyPr/>
                    <a:lstStyle/>
                    <a:p>
                      <a:pPr algn="ctr">
                        <a:defRPr sz="900">
                          <a:latin typeface="Nexa Book (Body)"/>
                        </a:defRPr>
                      </a:pPr>
                      <a:r>
                        <a:rPr sz="900">
                          <a:latin typeface="Nexa Book (Body)"/>
                        </a:rPr>
                        <a:t>10</a:t>
                      </a:r>
                    </a:p>
                  </a:txBody>
                  <a:tcPr marL="36000" marR="36000" marT="4763" marB="0" anchor="ctr">
                    <a:solidFill>
                      <a:srgbClr val="FFBFBF"/>
                    </a:solidFill>
                  </a:tcPr>
                </a:tc>
                <a:tc>
                  <a:txBody>
                    <a:bodyPr/>
                    <a:lstStyle/>
                    <a:p>
                      <a:pPr algn="l">
                        <a:defRPr sz="900">
                          <a:latin typeface="Nexa Book (Body)"/>
                        </a:defRPr>
                      </a:pPr>
                      <a:r>
                        <a:rPr sz="900">
                          <a:latin typeface="Nexa Book (Body)"/>
                        </a:rPr>
                        <a:t>Kiri/Carrefour</a:t>
                      </a:r>
                    </a:p>
                  </a:txBody>
                  <a:tcPr marL="36000" marR="36000" marT="4763" marB="0" anchor="ctr">
                    <a:solidFill>
                      <a:srgbClr val="FFBFBF"/>
                    </a:solidFill>
                  </a:tcPr>
                </a:tc>
                <a:extLst>
                  <a:ext uri="{0D108BD9-81ED-4DB2-BD59-A6C34878D82A}">
                    <a16:rowId xmlns:a16="http://schemas.microsoft.com/office/drawing/2014/main" val="362768916"/>
                  </a:ext>
                </a:extLst>
              </a:tr>
              <a:tr h="256410">
                <a:tc>
                  <a:txBody>
                    <a:bodyPr/>
                    <a:lstStyle/>
                    <a:p>
                      <a:pPr algn="ctr">
                        <a:defRPr sz="900">
                          <a:latin typeface="Nexa Book (Body)"/>
                        </a:defRPr>
                      </a:pPr>
                      <a:r>
                        <a:rPr sz="900">
                          <a:latin typeface="Nexa Book (Body)"/>
                        </a:rPr>
                        <a:t>11</a:t>
                      </a:r>
                    </a:p>
                  </a:txBody>
                  <a:tcPr marL="36000" marR="36000" marT="4763" marB="0" anchor="ctr">
                    <a:solidFill>
                      <a:srgbClr val="CBEAE7"/>
                    </a:solidFill>
                  </a:tcPr>
                </a:tc>
                <a:tc>
                  <a:txBody>
                    <a:bodyPr/>
                    <a:lstStyle/>
                    <a:p>
                      <a:pPr algn="l">
                        <a:defRPr sz="900">
                          <a:latin typeface="Nexa Book (Body)"/>
                        </a:defRPr>
                      </a:pPr>
                      <a:r>
                        <a:rPr sz="900">
                          <a:latin typeface="Nexa Book (Body)"/>
                        </a:rPr>
                        <a:t>La Vache Qui Rit/Intermarche</a:t>
                      </a:r>
                    </a:p>
                  </a:txBody>
                  <a:tcPr marL="36000" marR="36000" marT="4763" marB="0" anchor="ctr">
                    <a:solidFill>
                      <a:srgbClr val="CBEAE7"/>
                    </a:solidFill>
                  </a:tcPr>
                </a:tc>
                <a:extLst>
                  <a:ext uri="{0D108BD9-81ED-4DB2-BD59-A6C34878D82A}">
                    <a16:rowId xmlns:a16="http://schemas.microsoft.com/office/drawing/2014/main" val="1139766948"/>
                  </a:ext>
                </a:extLst>
              </a:tr>
              <a:tr h="256410">
                <a:tc>
                  <a:txBody>
                    <a:bodyPr/>
                    <a:lstStyle/>
                    <a:p>
                      <a:pPr algn="ctr">
                        <a:defRPr sz="900">
                          <a:latin typeface="Nexa Book (Body)"/>
                        </a:defRPr>
                      </a:pPr>
                      <a:r>
                        <a:rPr sz="900">
                          <a:latin typeface="Nexa Book (Body)"/>
                        </a:rPr>
                        <a:t>12</a:t>
                      </a:r>
                    </a:p>
                  </a:txBody>
                  <a:tcPr marL="36000" marR="36000" marT="4763" marB="0" anchor="ctr">
                    <a:solidFill>
                      <a:srgbClr val="FFBFBF"/>
                    </a:solidFill>
                  </a:tcPr>
                </a:tc>
                <a:tc>
                  <a:txBody>
                    <a:bodyPr/>
                    <a:lstStyle/>
                    <a:p>
                      <a:pPr algn="l">
                        <a:defRPr sz="900">
                          <a:latin typeface="Nexa Book (Body)"/>
                        </a:defRPr>
                      </a:pPr>
                      <a:r>
                        <a:rPr sz="900">
                          <a:latin typeface="Nexa Book (Body)"/>
                        </a:rPr>
                        <a:t>Boursin/Intermarche</a:t>
                      </a:r>
                    </a:p>
                  </a:txBody>
                  <a:tcPr marL="36000" marR="36000" marT="4763" marB="0" anchor="ctr">
                    <a:solidFill>
                      <a:srgbClr val="FFBFBF"/>
                    </a:solidFill>
                  </a:tcPr>
                </a:tc>
                <a:extLst>
                  <a:ext uri="{0D108BD9-81ED-4DB2-BD59-A6C34878D82A}">
                    <a16:rowId xmlns:a16="http://schemas.microsoft.com/office/drawing/2014/main" val="1687090376"/>
                  </a:ext>
                </a:extLst>
              </a:tr>
              <a:tr h="256410">
                <a:tc>
                  <a:txBody>
                    <a:bodyPr/>
                    <a:lstStyle/>
                    <a:p>
                      <a:pPr algn="ctr">
                        <a:defRPr sz="900">
                          <a:latin typeface="Nexa Book (Body)"/>
                        </a:defRPr>
                      </a:pPr>
                      <a:r>
                        <a:rPr sz="900">
                          <a:latin typeface="Nexa Book (Body)"/>
                        </a:rPr>
                        <a:t>13</a:t>
                      </a:r>
                    </a:p>
                  </a:txBody>
                  <a:tcPr marL="36000" marR="36000" marT="4763" marB="0" anchor="ctr">
                    <a:solidFill>
                      <a:srgbClr val="CBEAE7"/>
                    </a:solidFill>
                  </a:tcPr>
                </a:tc>
                <a:tc>
                  <a:txBody>
                    <a:bodyPr/>
                    <a:lstStyle/>
                    <a:p>
                      <a:pPr algn="l">
                        <a:defRPr sz="900">
                          <a:latin typeface="Nexa Book (Body)"/>
                        </a:defRPr>
                      </a:pPr>
                      <a:r>
                        <a:rPr sz="900">
                          <a:latin typeface="Nexa Book (Body)"/>
                        </a:rPr>
                        <a:t>Boursin/Carrefour</a:t>
                      </a:r>
                    </a:p>
                  </a:txBody>
                  <a:tcPr marL="36000" marR="36000" marT="4763" marB="0" anchor="ctr">
                    <a:solidFill>
                      <a:srgbClr val="CBEAE7"/>
                    </a:solidFill>
                  </a:tcPr>
                </a:tc>
                <a:extLst>
                  <a:ext uri="{0D108BD9-81ED-4DB2-BD59-A6C34878D82A}">
                    <a16:rowId xmlns:a16="http://schemas.microsoft.com/office/drawing/2014/main" val="1182192680"/>
                  </a:ext>
                </a:extLst>
              </a:tr>
              <a:tr h="256410">
                <a:tc>
                  <a:txBody>
                    <a:bodyPr/>
                    <a:lstStyle/>
                    <a:p>
                      <a:pPr algn="ctr">
                        <a:defRPr sz="900">
                          <a:latin typeface="Nexa Book (Body)"/>
                        </a:defRPr>
                      </a:pPr>
                      <a:r>
                        <a:rPr sz="900">
                          <a:latin typeface="Nexa Book (Body)"/>
                        </a:rPr>
                        <a:t>14</a:t>
                      </a:r>
                    </a:p>
                  </a:txBody>
                  <a:tcPr marL="36000" marR="36000" marT="4763" marB="0" anchor="ctr">
                    <a:solidFill>
                      <a:srgbClr val="F2F2F2"/>
                    </a:solidFill>
                  </a:tcPr>
                </a:tc>
                <a:tc>
                  <a:txBody>
                    <a:bodyPr/>
                    <a:lstStyle/>
                    <a:p>
                      <a:pPr algn="l">
                        <a:defRPr sz="900">
                          <a:latin typeface="Nexa Book (Body)"/>
                        </a:defRPr>
                      </a:pPr>
                      <a:r>
                        <a:rPr sz="900">
                          <a:latin typeface="Nexa Book (Body)"/>
                        </a:rPr>
                        <a:t>Kiri/Intermarche</a:t>
                      </a:r>
                    </a:p>
                  </a:txBody>
                  <a:tcPr marL="36000" marR="36000" marT="4763" marB="0" anchor="ctr">
                    <a:solidFill>
                      <a:srgbClr val="F2F2F2"/>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9/25/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531158943"/>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Soft Cheese | RETAILER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256410">
                <a:tc>
                  <a:txBody>
                    <a:bodyPr/>
                    <a:lstStyle/>
                    <a:p>
                      <a:pPr algn="ctr">
                        <a:defRPr sz="900">
                          <a:latin typeface="Nexa Book (Body)"/>
                        </a:defRPr>
                      </a:pPr>
                      <a:r>
                        <a:rPr sz="900">
                          <a:latin typeface="Nexa Book (Body)"/>
                        </a:rPr>
                        <a:t>1</a:t>
                      </a:r>
                    </a:p>
                  </a:txBody>
                  <a:tcPr marL="36000" marR="36000" marT="4763" marB="0" anchor="ctr">
                    <a:solidFill>
                      <a:srgbClr val="CBEAE7"/>
                    </a:solidFill>
                  </a:tcPr>
                </a:tc>
                <a:tc>
                  <a:txBody>
                    <a:bodyPr/>
                    <a:lstStyle/>
                    <a:p>
                      <a:pPr algn="l">
                        <a:defRPr sz="900">
                          <a:latin typeface="Nexa Book (Body)"/>
                        </a:defRPr>
                      </a:pPr>
                      <a:r>
                        <a:rPr sz="900">
                          <a:latin typeface="Nexa Book (Body)"/>
                        </a:rPr>
                        <a:t>Private Label/Carrefour</a:t>
                      </a:r>
                    </a:p>
                  </a:txBody>
                  <a:tcPr marL="36000" marR="36000" marT="4763" marB="0" anchor="ctr">
                    <a:solidFill>
                      <a:srgbClr val="CBEAE7"/>
                    </a:solidFill>
                  </a:tcPr>
                </a:tc>
                <a:extLst>
                  <a:ext uri="{0D108BD9-81ED-4DB2-BD59-A6C34878D82A}">
                    <a16:rowId xmlns:a16="http://schemas.microsoft.com/office/drawing/2014/main" val="3049926520"/>
                  </a:ext>
                </a:extLst>
              </a:tr>
              <a:tr h="256410">
                <a:tc>
                  <a:txBody>
                    <a:bodyPr/>
                    <a:lstStyle/>
                    <a:p>
                      <a:pPr algn="ctr">
                        <a:defRPr sz="900">
                          <a:latin typeface="Nexa Book (Body)"/>
                        </a:defRPr>
                      </a:pPr>
                      <a:r>
                        <a:rPr sz="900">
                          <a:latin typeface="Nexa Book (Body)"/>
                        </a:rPr>
                        <a:t>2</a:t>
                      </a:r>
                    </a:p>
                  </a:txBody>
                  <a:tcPr marL="36000" marR="36000" marT="4763" marB="0" anchor="ctr">
                    <a:solidFill>
                      <a:srgbClr val="FFBFBF"/>
                    </a:solidFill>
                  </a:tcPr>
                </a:tc>
                <a:tc>
                  <a:txBody>
                    <a:bodyPr/>
                    <a:lstStyle/>
                    <a:p>
                      <a:pPr algn="l">
                        <a:defRPr sz="900">
                          <a:latin typeface="Nexa Book (Body)"/>
                        </a:defRPr>
                      </a:pPr>
                      <a:r>
                        <a:rPr sz="900">
                          <a:latin typeface="Nexa Book (Body)"/>
                        </a:rPr>
                        <a:t>Private Label/Intermarche</a:t>
                      </a:r>
                    </a:p>
                  </a:txBody>
                  <a:tcPr marL="36000" marR="36000" marT="4763" marB="0" anchor="ctr">
                    <a:solidFill>
                      <a:srgbClr val="FFBFBF"/>
                    </a:solidFill>
                  </a:tcPr>
                </a:tc>
                <a:extLst>
                  <a:ext uri="{0D108BD9-81ED-4DB2-BD59-A6C34878D82A}">
                    <a16:rowId xmlns:a16="http://schemas.microsoft.com/office/drawing/2014/main" val="3518559538"/>
                  </a:ext>
                </a:extLst>
              </a:tr>
              <a:tr h="256410">
                <a:tc>
                  <a:txBody>
                    <a:bodyPr/>
                    <a:lstStyle/>
                    <a:p>
                      <a:pPr algn="ctr">
                        <a:defRPr sz="900">
                          <a:latin typeface="Nexa Book (Body)"/>
                        </a:defRPr>
                      </a:pPr>
                      <a:r>
                        <a:rPr sz="900">
                          <a:latin typeface="Nexa Book (Body)"/>
                        </a:rPr>
                        <a:t>3</a:t>
                      </a:r>
                    </a:p>
                  </a:txBody>
                  <a:tcPr marL="36000" marR="36000" marT="4763" marB="0" anchor="ctr">
                    <a:solidFill>
                      <a:srgbClr val="CBEAE7"/>
                    </a:solidFill>
                  </a:tcPr>
                </a:tc>
                <a:tc>
                  <a:txBody>
                    <a:bodyPr/>
                    <a:lstStyle/>
                    <a:p>
                      <a:pPr algn="l">
                        <a:defRPr sz="900">
                          <a:latin typeface="Nexa Book (Body)"/>
                        </a:defRPr>
                      </a:pPr>
                      <a:r>
                        <a:rPr sz="900">
                          <a:latin typeface="Nexa Book (Body)"/>
                        </a:rPr>
                        <a:t>All Others/Carrefour</a:t>
                      </a:r>
                    </a:p>
                  </a:txBody>
                  <a:tcPr marL="36000" marR="36000" marT="4763" marB="0" anchor="ctr">
                    <a:solidFill>
                      <a:srgbClr val="CBEAE7"/>
                    </a:solidFill>
                  </a:tcPr>
                </a:tc>
                <a:extLst>
                  <a:ext uri="{0D108BD9-81ED-4DB2-BD59-A6C34878D82A}">
                    <a16:rowId xmlns:a16="http://schemas.microsoft.com/office/drawing/2014/main" val="3886752891"/>
                  </a:ext>
                </a:extLst>
              </a:tr>
              <a:tr h="256410">
                <a:tc>
                  <a:txBody>
                    <a:bodyPr/>
                    <a:lstStyle/>
                    <a:p>
                      <a:pPr algn="ctr">
                        <a:defRPr sz="900">
                          <a:latin typeface="Nexa Book (Body)"/>
                        </a:defRPr>
                      </a:pPr>
                      <a:r>
                        <a:rPr sz="900">
                          <a:latin typeface="Nexa Book (Body)"/>
                        </a:rPr>
                        <a:t>4</a:t>
                      </a:r>
                    </a:p>
                  </a:txBody>
                  <a:tcPr marL="36000" marR="36000" marT="4763" marB="0" anchor="ctr">
                    <a:solidFill>
                      <a:srgbClr val="FFBFBF"/>
                    </a:solidFill>
                  </a:tcPr>
                </a:tc>
                <a:tc>
                  <a:txBody>
                    <a:bodyPr/>
                    <a:lstStyle/>
                    <a:p>
                      <a:pPr algn="l">
                        <a:defRPr sz="900">
                          <a:latin typeface="Nexa Book (Body)"/>
                        </a:defRPr>
                      </a:pPr>
                      <a:r>
                        <a:rPr sz="900">
                          <a:latin typeface="Nexa Book (Body)"/>
                        </a:rPr>
                        <a:t>President/Carrefour</a:t>
                      </a:r>
                    </a:p>
                  </a:txBody>
                  <a:tcPr marL="36000" marR="36000" marT="4763" marB="0" anchor="ctr">
                    <a:solidFill>
                      <a:srgbClr val="FFBFBF"/>
                    </a:solidFill>
                  </a:tcPr>
                </a:tc>
                <a:extLst>
                  <a:ext uri="{0D108BD9-81ED-4DB2-BD59-A6C34878D82A}">
                    <a16:rowId xmlns:a16="http://schemas.microsoft.com/office/drawing/2014/main" val="3477306869"/>
                  </a:ext>
                </a:extLst>
              </a:tr>
              <a:tr h="256410">
                <a:tc>
                  <a:txBody>
                    <a:bodyPr/>
                    <a:lstStyle/>
                    <a:p>
                      <a:pPr algn="ctr">
                        <a:defRPr sz="900">
                          <a:latin typeface="Nexa Book (Body)"/>
                        </a:defRPr>
                      </a:pPr>
                      <a:r>
                        <a:rPr sz="900">
                          <a:latin typeface="Nexa Book (Body)"/>
                        </a:rPr>
                        <a:t>5</a:t>
                      </a:r>
                    </a:p>
                  </a:txBody>
                  <a:tcPr marL="36000" marR="36000" marT="4763" marB="0" anchor="ctr">
                    <a:solidFill>
                      <a:srgbClr val="FFBFBF"/>
                    </a:solidFill>
                  </a:tcPr>
                </a:tc>
                <a:tc>
                  <a:txBody>
                    <a:bodyPr/>
                    <a:lstStyle/>
                    <a:p>
                      <a:pPr algn="l">
                        <a:defRPr sz="900">
                          <a:latin typeface="Nexa Book (Body)"/>
                        </a:defRPr>
                      </a:pPr>
                      <a:r>
                        <a:rPr sz="900">
                          <a:latin typeface="Nexa Book (Body)"/>
                        </a:rPr>
                        <a:t>President/Intermarche</a:t>
                      </a:r>
                    </a:p>
                  </a:txBody>
                  <a:tcPr marL="36000" marR="36000" marT="4763" marB="0" anchor="ctr">
                    <a:solidFill>
                      <a:srgbClr val="FFBFBF"/>
                    </a:solidFill>
                  </a:tcPr>
                </a:tc>
                <a:extLst>
                  <a:ext uri="{0D108BD9-81ED-4DB2-BD59-A6C34878D82A}">
                    <a16:rowId xmlns:a16="http://schemas.microsoft.com/office/drawing/2014/main" val="264026324"/>
                  </a:ext>
                </a:extLst>
              </a:tr>
              <a:tr h="256410">
                <a:tc>
                  <a:txBody>
                    <a:bodyPr/>
                    <a:lstStyle/>
                    <a:p>
                      <a:pPr algn="ctr">
                        <a:defRPr sz="900">
                          <a:latin typeface="Nexa Book (Body)"/>
                        </a:defRPr>
                      </a:pPr>
                      <a:r>
                        <a:rPr sz="900">
                          <a:latin typeface="Nexa Book (Body)"/>
                        </a:rPr>
                        <a:t>6</a:t>
                      </a:r>
                    </a:p>
                  </a:txBody>
                  <a:tcPr marL="36000" marR="36000" marT="4763" marB="0" anchor="ctr">
                    <a:solidFill>
                      <a:srgbClr val="FFBFBF"/>
                    </a:solidFill>
                  </a:tcPr>
                </a:tc>
                <a:tc>
                  <a:txBody>
                    <a:bodyPr/>
                    <a:lstStyle/>
                    <a:p>
                      <a:pPr algn="l">
                        <a:defRPr sz="900">
                          <a:latin typeface="Nexa Book (Body)"/>
                        </a:defRPr>
                      </a:pPr>
                      <a:r>
                        <a:rPr sz="900">
                          <a:latin typeface="Nexa Book (Body)"/>
                        </a:rPr>
                        <a:t>Soignon/Carrefour</a:t>
                      </a:r>
                    </a:p>
                  </a:txBody>
                  <a:tcPr marL="36000" marR="36000" marT="4763" marB="0" anchor="ctr">
                    <a:solidFill>
                      <a:srgbClr val="FFBFBF"/>
                    </a:solidFill>
                  </a:tcPr>
                </a:tc>
                <a:extLst>
                  <a:ext uri="{0D108BD9-81ED-4DB2-BD59-A6C34878D82A}">
                    <a16:rowId xmlns:a16="http://schemas.microsoft.com/office/drawing/2014/main" val="613793393"/>
                  </a:ext>
                </a:extLst>
              </a:tr>
              <a:tr h="256410">
                <a:tc>
                  <a:txBody>
                    <a:bodyPr/>
                    <a:lstStyle/>
                    <a:p>
                      <a:pPr algn="ctr">
                        <a:defRPr sz="900">
                          <a:latin typeface="Nexa Book (Body)"/>
                        </a:defRPr>
                      </a:pPr>
                      <a:r>
                        <a:rPr sz="900">
                          <a:latin typeface="Nexa Book (Body)"/>
                        </a:rPr>
                        <a:t>7</a:t>
                      </a:r>
                    </a:p>
                  </a:txBody>
                  <a:tcPr marL="36000" marR="36000" marT="4763" marB="0" anchor="ctr">
                    <a:solidFill>
                      <a:srgbClr val="FFBFBF"/>
                    </a:solidFill>
                  </a:tcPr>
                </a:tc>
                <a:tc>
                  <a:txBody>
                    <a:bodyPr/>
                    <a:lstStyle/>
                    <a:p>
                      <a:pPr algn="l">
                        <a:defRPr sz="900">
                          <a:latin typeface="Nexa Book (Body)"/>
                        </a:defRPr>
                      </a:pPr>
                      <a:r>
                        <a:rPr sz="900">
                          <a:latin typeface="Nexa Book (Body)"/>
                        </a:rPr>
                        <a:t>Soignon/Intermarche</a:t>
                      </a:r>
                    </a:p>
                  </a:txBody>
                  <a:tcPr marL="36000" marR="36000" marT="4763" marB="0" anchor="ctr">
                    <a:solidFill>
                      <a:srgbClr val="FFBFBF"/>
                    </a:solidFill>
                  </a:tcPr>
                </a:tc>
                <a:extLst>
                  <a:ext uri="{0D108BD9-81ED-4DB2-BD59-A6C34878D82A}">
                    <a16:rowId xmlns:a16="http://schemas.microsoft.com/office/drawing/2014/main" val="4246246309"/>
                  </a:ext>
                </a:extLst>
              </a:tr>
              <a:tr h="256410">
                <a:tc>
                  <a:txBody>
                    <a:bodyPr/>
                    <a:lstStyle/>
                    <a:p>
                      <a:pPr algn="ctr">
                        <a:defRPr sz="900">
                          <a:latin typeface="Nexa Book (Body)"/>
                        </a:defRPr>
                      </a:pPr>
                      <a:r>
                        <a:rPr sz="900">
                          <a:latin typeface="Nexa Book (Body)"/>
                        </a:rPr>
                        <a:t>8</a:t>
                      </a:r>
                    </a:p>
                  </a:txBody>
                  <a:tcPr marL="36000" marR="36000" marT="4763" marB="0" anchor="ctr">
                    <a:solidFill>
                      <a:srgbClr val="CBEAE7"/>
                    </a:solidFill>
                  </a:tcPr>
                </a:tc>
                <a:tc>
                  <a:txBody>
                    <a:bodyPr/>
                    <a:lstStyle/>
                    <a:p>
                      <a:pPr algn="l">
                        <a:defRPr sz="900">
                          <a:latin typeface="Nexa Book (Body)"/>
                        </a:defRPr>
                      </a:pPr>
                      <a:r>
                        <a:rPr sz="900">
                          <a:latin typeface="Nexa Book (Body)"/>
                        </a:rPr>
                        <a:t>All Others/Intermarche</a:t>
                      </a:r>
                    </a:p>
                  </a:txBody>
                  <a:tcPr marL="36000" marR="36000" marT="4763" marB="0" anchor="ctr">
                    <a:solidFill>
                      <a:srgbClr val="CBEAE7"/>
                    </a:solidFill>
                  </a:tcPr>
                </a:tc>
                <a:extLst>
                  <a:ext uri="{0D108BD9-81ED-4DB2-BD59-A6C34878D82A}">
                    <a16:rowId xmlns:a16="http://schemas.microsoft.com/office/drawing/2014/main" val="418503086"/>
                  </a:ext>
                </a:extLst>
              </a:tr>
              <a:tr h="256410">
                <a:tc>
                  <a:txBody>
                    <a:bodyPr/>
                    <a:lstStyle/>
                    <a:p>
                      <a:pPr algn="ctr">
                        <a:defRPr sz="900">
                          <a:latin typeface="Nexa Book (Body)"/>
                        </a:defRPr>
                      </a:pPr>
                      <a:r>
                        <a:rPr sz="900">
                          <a:latin typeface="Nexa Book (Body)"/>
                        </a:rPr>
                        <a:t>9</a:t>
                      </a:r>
                    </a:p>
                  </a:txBody>
                  <a:tcPr marL="36000" marR="36000" marT="4763" marB="0" anchor="ctr">
                    <a:solidFill>
                      <a:srgbClr val="FFBFBF"/>
                    </a:solidFill>
                  </a:tcPr>
                </a:tc>
                <a:tc>
                  <a:txBody>
                    <a:bodyPr/>
                    <a:lstStyle/>
                    <a:p>
                      <a:pPr algn="l">
                        <a:defRPr sz="900">
                          <a:latin typeface="Nexa Book (Body)"/>
                        </a:defRPr>
                      </a:pPr>
                      <a:r>
                        <a:rPr sz="900">
                          <a:latin typeface="Nexa Book (Body)"/>
                        </a:rPr>
                        <a:t>La Vache Qui Rit/Carrefour</a:t>
                      </a:r>
                    </a:p>
                  </a:txBody>
                  <a:tcPr marL="36000" marR="36000" marT="4763" marB="0" anchor="ctr">
                    <a:solidFill>
                      <a:srgbClr val="FFBFBF"/>
                    </a:solidFill>
                  </a:tcPr>
                </a:tc>
                <a:extLst>
                  <a:ext uri="{0D108BD9-81ED-4DB2-BD59-A6C34878D82A}">
                    <a16:rowId xmlns:a16="http://schemas.microsoft.com/office/drawing/2014/main" val="381854689"/>
                  </a:ext>
                </a:extLst>
              </a:tr>
              <a:tr h="256410">
                <a:tc>
                  <a:txBody>
                    <a:bodyPr/>
                    <a:lstStyle/>
                    <a:p>
                      <a:pPr algn="ctr">
                        <a:defRPr sz="900">
                          <a:latin typeface="Nexa Book (Body)"/>
                        </a:defRPr>
                      </a:pPr>
                      <a:r>
                        <a:rPr sz="900">
                          <a:latin typeface="Nexa Book (Body)"/>
                        </a:rPr>
                        <a:t>10</a:t>
                      </a:r>
                    </a:p>
                  </a:txBody>
                  <a:tcPr marL="36000" marR="36000" marT="4763" marB="0" anchor="ctr">
                    <a:solidFill>
                      <a:srgbClr val="FFBFBF"/>
                    </a:solidFill>
                  </a:tcPr>
                </a:tc>
                <a:tc>
                  <a:txBody>
                    <a:bodyPr/>
                    <a:lstStyle/>
                    <a:p>
                      <a:pPr algn="l">
                        <a:defRPr sz="900">
                          <a:latin typeface="Nexa Book (Body)"/>
                        </a:defRPr>
                      </a:pPr>
                      <a:r>
                        <a:rPr sz="900">
                          <a:latin typeface="Nexa Book (Body)"/>
                        </a:rPr>
                        <a:t>Kiri/Carrefour</a:t>
                      </a:r>
                    </a:p>
                  </a:txBody>
                  <a:tcPr marL="36000" marR="36000" marT="4763" marB="0" anchor="ctr">
                    <a:solidFill>
                      <a:srgbClr val="FFBFBF"/>
                    </a:solidFill>
                  </a:tcPr>
                </a:tc>
                <a:extLst>
                  <a:ext uri="{0D108BD9-81ED-4DB2-BD59-A6C34878D82A}">
                    <a16:rowId xmlns:a16="http://schemas.microsoft.com/office/drawing/2014/main" val="362768916"/>
                  </a:ext>
                </a:extLst>
              </a:tr>
              <a:tr h="256410">
                <a:tc>
                  <a:txBody>
                    <a:bodyPr/>
                    <a:lstStyle/>
                    <a:p>
                      <a:pPr algn="ctr">
                        <a:defRPr sz="900">
                          <a:latin typeface="Nexa Book (Body)"/>
                        </a:defRPr>
                      </a:pPr>
                      <a:r>
                        <a:rPr sz="900">
                          <a:latin typeface="Nexa Book (Body)"/>
                        </a:rPr>
                        <a:t>11</a:t>
                      </a:r>
                    </a:p>
                  </a:txBody>
                  <a:tcPr marL="36000" marR="36000" marT="4763" marB="0" anchor="ctr">
                    <a:solidFill>
                      <a:srgbClr val="CBEAE7"/>
                    </a:solidFill>
                  </a:tcPr>
                </a:tc>
                <a:tc>
                  <a:txBody>
                    <a:bodyPr/>
                    <a:lstStyle/>
                    <a:p>
                      <a:pPr algn="l">
                        <a:defRPr sz="900">
                          <a:latin typeface="Nexa Book (Body)"/>
                        </a:defRPr>
                      </a:pPr>
                      <a:r>
                        <a:rPr sz="900">
                          <a:latin typeface="Nexa Book (Body)"/>
                        </a:rPr>
                        <a:t>La Vache Qui Rit/Intermarche</a:t>
                      </a:r>
                    </a:p>
                  </a:txBody>
                  <a:tcPr marL="36000" marR="36000" marT="4763" marB="0" anchor="ctr">
                    <a:solidFill>
                      <a:srgbClr val="CBEAE7"/>
                    </a:solidFill>
                  </a:tcPr>
                </a:tc>
                <a:extLst>
                  <a:ext uri="{0D108BD9-81ED-4DB2-BD59-A6C34878D82A}">
                    <a16:rowId xmlns:a16="http://schemas.microsoft.com/office/drawing/2014/main" val="1139766948"/>
                  </a:ext>
                </a:extLst>
              </a:tr>
              <a:tr h="256410">
                <a:tc>
                  <a:txBody>
                    <a:bodyPr/>
                    <a:lstStyle/>
                    <a:p>
                      <a:pPr algn="ctr">
                        <a:defRPr sz="900">
                          <a:latin typeface="Nexa Book (Body)"/>
                        </a:defRPr>
                      </a:pPr>
                      <a:r>
                        <a:rPr sz="900">
                          <a:latin typeface="Nexa Book (Body)"/>
                        </a:rPr>
                        <a:t>12</a:t>
                      </a:r>
                    </a:p>
                  </a:txBody>
                  <a:tcPr marL="36000" marR="36000" marT="4763" marB="0" anchor="ctr">
                    <a:solidFill>
                      <a:srgbClr val="F2F2F2"/>
                    </a:solidFill>
                  </a:tcPr>
                </a:tc>
                <a:tc>
                  <a:txBody>
                    <a:bodyPr/>
                    <a:lstStyle/>
                    <a:p>
                      <a:pPr algn="l">
                        <a:defRPr sz="900">
                          <a:latin typeface="Nexa Book (Body)"/>
                        </a:defRPr>
                      </a:pPr>
                      <a:r>
                        <a:rPr sz="900">
                          <a:latin typeface="Nexa Book (Body)"/>
                        </a:rPr>
                        <a:t>Kiri/Intermarche</a:t>
                      </a:r>
                    </a:p>
                  </a:txBody>
                  <a:tcPr marL="36000" marR="36000" marT="4763" marB="0" anchor="ctr">
                    <a:solidFill>
                      <a:srgbClr val="F2F2F2"/>
                    </a:solidFill>
                  </a:tcPr>
                </a:tc>
                <a:extLst>
                  <a:ext uri="{0D108BD9-81ED-4DB2-BD59-A6C34878D82A}">
                    <a16:rowId xmlns:a16="http://schemas.microsoft.com/office/drawing/2014/main" val="1687090376"/>
                  </a:ext>
                </a:extLst>
              </a:tr>
              <a:tr h="256410">
                <a:tc>
                  <a:txBody>
                    <a:bodyPr/>
                    <a:lstStyle/>
                    <a:p>
                      <a:pPr algn="ctr">
                        <a:defRPr sz="900">
                          <a:latin typeface="Nexa Book (Body)"/>
                        </a:defRPr>
                      </a:pPr>
                      <a:r>
                        <a:rPr sz="900">
                          <a:latin typeface="Nexa Book (Body)"/>
                        </a:rPr>
                        <a:t>13</a:t>
                      </a:r>
                    </a:p>
                  </a:txBody>
                  <a:tcPr marL="36000" marR="36000" marT="4763" marB="0" anchor="ctr">
                    <a:solidFill>
                      <a:srgbClr val="F2F2F2"/>
                    </a:solidFill>
                  </a:tcPr>
                </a:tc>
                <a:tc>
                  <a:txBody>
                    <a:bodyPr/>
                    <a:lstStyle/>
                    <a:p>
                      <a:pPr algn="l">
                        <a:defRPr sz="900">
                          <a:latin typeface="Nexa Book (Body)"/>
                        </a:defRPr>
                      </a:pPr>
                      <a:r>
                        <a:rPr sz="900">
                          <a:latin typeface="Nexa Book (Body)"/>
                        </a:rPr>
                        <a:t>Boursin/Intermarche</a:t>
                      </a:r>
                    </a:p>
                  </a:txBody>
                  <a:tcPr marL="36000" marR="36000" marT="4763" marB="0" anchor="ctr">
                    <a:solidFill>
                      <a:srgbClr val="F2F2F2"/>
                    </a:solidFill>
                  </a:tcPr>
                </a:tc>
                <a:extLst>
                  <a:ext uri="{0D108BD9-81ED-4DB2-BD59-A6C34878D82A}">
                    <a16:rowId xmlns:a16="http://schemas.microsoft.com/office/drawing/2014/main" val="1182192680"/>
                  </a:ext>
                </a:extLst>
              </a:tr>
              <a:tr h="256410">
                <a:tc>
                  <a:txBody>
                    <a:bodyPr/>
                    <a:lstStyle/>
                    <a:p>
                      <a:pPr algn="ctr">
                        <a:defRPr sz="900">
                          <a:latin typeface="Nexa Book (Body)"/>
                        </a:defRPr>
                      </a:pPr>
                      <a:r>
                        <a:rPr sz="900">
                          <a:latin typeface="Nexa Book (Body)"/>
                        </a:rPr>
                        <a:t>14</a:t>
                      </a:r>
                    </a:p>
                  </a:txBody>
                  <a:tcPr marL="36000" marR="36000" marT="4763" marB="0" anchor="ctr">
                    <a:solidFill>
                      <a:srgbClr val="FFBFBF"/>
                    </a:solidFill>
                  </a:tcPr>
                </a:tc>
                <a:tc>
                  <a:txBody>
                    <a:bodyPr/>
                    <a:lstStyle/>
                    <a:p>
                      <a:pPr algn="l">
                        <a:defRPr sz="900">
                          <a:latin typeface="Nexa Book (Body)"/>
                        </a:defRPr>
                      </a:pPr>
                      <a:r>
                        <a:rPr sz="900">
                          <a:latin typeface="Nexa Book (Body)"/>
                        </a:rPr>
                        <a:t>Boursin/Carrefour</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9/25/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3275271407"/>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Be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5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Md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4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Ker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29</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Savenci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9.11</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7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7</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Enfant | Carrefour</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3248">
                <a:tc>
                  <a:txBody>
                    <a:bodyPr/>
                    <a:lstStyle/>
                    <a:p>
                      <a:pPr>
                        <a:defRPr sz="900">
                          <a:latin typeface="Nexa Bold"/>
                        </a:defRPr>
                      </a:pPr>
                      <a: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463248">
                <a:tc>
                  <a:txBody>
                    <a:bodyPr/>
                    <a:lstStyle/>
                    <a:p>
                      <a:pPr>
                        <a:defRPr sz="900">
                          <a:latin typeface="Nexa Bold"/>
                        </a:defRPr>
                      </a:pPr>
                      <a:r>
                        <a:t>Mini Baby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463248">
                <a:tc>
                  <a:txBody>
                    <a:bodyPr/>
                    <a:lstStyle/>
                    <a:p>
                      <a:pPr>
                        <a:defRPr sz="900">
                          <a:latin typeface="Nexa Bold"/>
                        </a:defRPr>
                      </a:pPr>
                      <a: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463248">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63248">
                <a:tc>
                  <a:txBody>
                    <a:bodyPr/>
                    <a:lstStyle/>
                    <a:p>
                      <a:pPr>
                        <a:defRPr sz="900">
                          <a:latin typeface="Nexa Bold"/>
                        </a:defRPr>
                      </a:pPr>
                      <a:r>
                        <a:t>Ficel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63248">
                <a:tc>
                  <a:txBody>
                    <a:bodyPr/>
                    <a:lstStyle/>
                    <a:p>
                      <a:pPr>
                        <a:defRPr sz="900">
                          <a:latin typeface="Nexa Bold"/>
                        </a:defRPr>
                      </a:pPr>
                      <a:r>
                        <a:t>P'Tit Lou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9.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6324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9/25/2025</a:t>
            </a:fld>
            <a:endParaRPr lang="en-US"/>
          </a:p>
        </p:txBody>
      </p:sp>
    </p:spTree>
    <p:extLst>
      <p:ext uri="{BB962C8B-B14F-4D97-AF65-F5344CB8AC3E}">
        <p14:creationId xmlns:p14="http://schemas.microsoft.com/office/powerpoint/2010/main" val="117464756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Aperitif | RETAILER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358974">
                <a:tc>
                  <a:txBody>
                    <a:bodyPr/>
                    <a:lstStyle/>
                    <a:p>
                      <a:pPr algn="ctr">
                        <a:defRPr sz="900">
                          <a:latin typeface="Nexa Book (Body)"/>
                        </a:defRPr>
                      </a:pPr>
                      <a:r>
                        <a:rPr sz="900">
                          <a:latin typeface="Nexa Book (Body)"/>
                        </a:rPr>
                        <a:t>1</a:t>
                      </a:r>
                    </a:p>
                  </a:txBody>
                  <a:tcPr marL="36000" marR="36000" marT="4763" marB="0" anchor="ctr">
                    <a:solidFill>
                      <a:srgbClr val="CBEAE7"/>
                    </a:solidFill>
                  </a:tcPr>
                </a:tc>
                <a:tc>
                  <a:txBody>
                    <a:bodyPr/>
                    <a:lstStyle/>
                    <a:p>
                      <a:pPr algn="l">
                        <a:defRPr sz="900">
                          <a:latin typeface="Nexa Book (Body)"/>
                        </a:defRPr>
                      </a:pPr>
                      <a:r>
                        <a:rPr sz="900">
                          <a:latin typeface="Nexa Book (Body)"/>
                        </a:rPr>
                        <a:t>Apericube/Carrefour</a:t>
                      </a:r>
                    </a:p>
                  </a:txBody>
                  <a:tcPr marL="36000" marR="36000" marT="4763" marB="0" anchor="ctr">
                    <a:solidFill>
                      <a:srgbClr val="CBEAE7"/>
                    </a:solidFill>
                  </a:tcPr>
                </a:tc>
                <a:extLst>
                  <a:ext uri="{0D108BD9-81ED-4DB2-BD59-A6C34878D82A}">
                    <a16:rowId xmlns:a16="http://schemas.microsoft.com/office/drawing/2014/main" val="264026324"/>
                  </a:ext>
                </a:extLst>
              </a:tr>
              <a:tr h="358974">
                <a:tc>
                  <a:txBody>
                    <a:bodyPr/>
                    <a:lstStyle/>
                    <a:p>
                      <a:pPr algn="ctr">
                        <a:defRPr sz="900">
                          <a:latin typeface="Nexa Book (Body)"/>
                        </a:defRPr>
                      </a:pPr>
                      <a:r>
                        <a:rPr sz="900">
                          <a:latin typeface="Nexa Book (Body)"/>
                        </a:rPr>
                        <a:t>2</a:t>
                      </a:r>
                    </a:p>
                  </a:txBody>
                  <a:tcPr marL="36000" marR="36000" marT="4763" marB="0" anchor="ctr">
                    <a:solidFill>
                      <a:srgbClr val="FFBFBF"/>
                    </a:solidFill>
                  </a:tcPr>
                </a:tc>
                <a:tc>
                  <a:txBody>
                    <a:bodyPr/>
                    <a:lstStyle/>
                    <a:p>
                      <a:pPr algn="l">
                        <a:defRPr sz="900">
                          <a:latin typeface="Nexa Book (Body)"/>
                        </a:defRPr>
                      </a:pPr>
                      <a:r>
                        <a:rPr sz="900">
                          <a:latin typeface="Nexa Book (Body)"/>
                        </a:rPr>
                        <a:t>Apericube/Intermarche</a:t>
                      </a:r>
                    </a:p>
                  </a:txBody>
                  <a:tcPr marL="36000" marR="36000" marT="4763" marB="0" anchor="ctr">
                    <a:solidFill>
                      <a:srgbClr val="FFBFBF"/>
                    </a:solidFill>
                  </a:tcPr>
                </a:tc>
                <a:extLst>
                  <a:ext uri="{0D108BD9-81ED-4DB2-BD59-A6C34878D82A}">
                    <a16:rowId xmlns:a16="http://schemas.microsoft.com/office/drawing/2014/main" val="613793393"/>
                  </a:ext>
                </a:extLst>
              </a:tr>
              <a:tr h="358974">
                <a:tc>
                  <a:txBody>
                    <a:bodyPr/>
                    <a:lstStyle/>
                    <a:p>
                      <a:pPr algn="ctr">
                        <a:defRPr sz="900">
                          <a:latin typeface="Nexa Book (Body)"/>
                        </a:defRPr>
                      </a:pPr>
                      <a:r>
                        <a:rPr sz="900">
                          <a:latin typeface="Nexa Book (Body)"/>
                        </a:rPr>
                        <a:t>3</a:t>
                      </a:r>
                    </a:p>
                  </a:txBody>
                  <a:tcPr marL="36000" marR="36000" marT="4763" marB="0" anchor="ctr">
                    <a:solidFill>
                      <a:srgbClr val="FFBFBF"/>
                    </a:solidFill>
                  </a:tcPr>
                </a:tc>
                <a:tc>
                  <a:txBody>
                    <a:bodyPr/>
                    <a:lstStyle/>
                    <a:p>
                      <a:pPr algn="l">
                        <a:defRPr sz="900">
                          <a:latin typeface="Nexa Book (Body)"/>
                        </a:defRPr>
                      </a:pPr>
                      <a:r>
                        <a:rPr sz="900">
                          <a:latin typeface="Nexa Book (Body)"/>
                        </a:rPr>
                        <a:t>Aperivrais/Carrefour</a:t>
                      </a:r>
                    </a:p>
                  </a:txBody>
                  <a:tcPr marL="36000" marR="36000" marT="4763" marB="0" anchor="ctr">
                    <a:solidFill>
                      <a:srgbClr val="FFBFBF"/>
                    </a:solidFill>
                  </a:tcPr>
                </a:tc>
                <a:extLst>
                  <a:ext uri="{0D108BD9-81ED-4DB2-BD59-A6C34878D82A}">
                    <a16:rowId xmlns:a16="http://schemas.microsoft.com/office/drawing/2014/main" val="4246246309"/>
                  </a:ext>
                </a:extLst>
              </a:tr>
              <a:tr h="358974">
                <a:tc>
                  <a:txBody>
                    <a:bodyPr/>
                    <a:lstStyle/>
                    <a:p>
                      <a:pPr algn="ctr">
                        <a:defRPr sz="900">
                          <a:latin typeface="Nexa Book (Body)"/>
                        </a:defRPr>
                      </a:pPr>
                      <a:r>
                        <a:rPr sz="900">
                          <a:latin typeface="Nexa Book (Body)"/>
                        </a:rPr>
                        <a:t>4</a:t>
                      </a:r>
                    </a:p>
                  </a:txBody>
                  <a:tcPr marL="36000" marR="36000" marT="4763" marB="0" anchor="ctr">
                    <a:solidFill>
                      <a:srgbClr val="F2F2F2"/>
                    </a:solidFill>
                  </a:tcPr>
                </a:tc>
                <a:tc>
                  <a:txBody>
                    <a:bodyPr/>
                    <a:lstStyle/>
                    <a:p>
                      <a:pPr algn="l">
                        <a:defRPr sz="900">
                          <a:latin typeface="Nexa Book (Body)"/>
                        </a:defRPr>
                      </a:pPr>
                      <a:r>
                        <a:rPr sz="900">
                          <a:latin typeface="Nexa Book (Body)"/>
                        </a:rPr>
                        <a:t>Aperivrais/Intermarche</a:t>
                      </a:r>
                    </a:p>
                  </a:txBody>
                  <a:tcPr marL="36000" marR="36000" marT="4763" marB="0" anchor="ctr">
                    <a:solidFill>
                      <a:srgbClr val="F2F2F2"/>
                    </a:solidFill>
                  </a:tcPr>
                </a:tc>
                <a:extLst>
                  <a:ext uri="{0D108BD9-81ED-4DB2-BD59-A6C34878D82A}">
                    <a16:rowId xmlns:a16="http://schemas.microsoft.com/office/drawing/2014/main" val="418503086"/>
                  </a:ext>
                </a:extLst>
              </a:tr>
              <a:tr h="358974">
                <a:tc>
                  <a:txBody>
                    <a:bodyPr/>
                    <a:lstStyle/>
                    <a:p>
                      <a:pPr algn="ctr">
                        <a:defRPr sz="900">
                          <a:latin typeface="Nexa Book (Body)"/>
                        </a:defRPr>
                      </a:pPr>
                      <a:r>
                        <a:rPr sz="900">
                          <a:latin typeface="Nexa Book (Body)"/>
                        </a:rPr>
                        <a:t>5</a:t>
                      </a:r>
                    </a:p>
                  </a:txBody>
                  <a:tcPr marL="36000" marR="36000" marT="4763" marB="0" anchor="ctr">
                    <a:solidFill>
                      <a:srgbClr val="FFBFBF"/>
                    </a:solidFill>
                  </a:tcPr>
                </a:tc>
                <a:tc>
                  <a:txBody>
                    <a:bodyPr/>
                    <a:lstStyle/>
                    <a:p>
                      <a:pPr algn="l">
                        <a:defRPr sz="900">
                          <a:latin typeface="Nexa Book (Body)"/>
                        </a:defRPr>
                      </a:pPr>
                      <a:r>
                        <a:rPr sz="900">
                          <a:latin typeface="Nexa Book (Body)"/>
                        </a:rPr>
                        <a:t>Boursin/Intermarche</a:t>
                      </a:r>
                    </a:p>
                  </a:txBody>
                  <a:tcPr marL="36000" marR="36000" marT="4763" marB="0" anchor="ctr">
                    <a:solidFill>
                      <a:srgbClr val="FFBFBF"/>
                    </a:solidFill>
                  </a:tcPr>
                </a:tc>
                <a:extLst>
                  <a:ext uri="{0D108BD9-81ED-4DB2-BD59-A6C34878D82A}">
                    <a16:rowId xmlns:a16="http://schemas.microsoft.com/office/drawing/2014/main" val="381854689"/>
                  </a:ext>
                </a:extLst>
              </a:tr>
              <a:tr h="358974">
                <a:tc>
                  <a:txBody>
                    <a:bodyPr/>
                    <a:lstStyle/>
                    <a:p>
                      <a:pPr algn="ctr">
                        <a:defRPr sz="900">
                          <a:latin typeface="Nexa Book (Body)"/>
                        </a:defRPr>
                      </a:pPr>
                      <a:r>
                        <a:rPr sz="900">
                          <a:latin typeface="Nexa Book (Body)"/>
                        </a:rPr>
                        <a:t>6</a:t>
                      </a:r>
                    </a:p>
                  </a:txBody>
                  <a:tcPr marL="36000" marR="36000" marT="4763" marB="0" anchor="ctr">
                    <a:solidFill>
                      <a:srgbClr val="CBEAE7"/>
                    </a:solidFill>
                  </a:tcPr>
                </a:tc>
                <a:tc>
                  <a:txBody>
                    <a:bodyPr/>
                    <a:lstStyle/>
                    <a:p>
                      <a:pPr algn="l">
                        <a:defRPr sz="900">
                          <a:latin typeface="Nexa Book (Body)"/>
                        </a:defRPr>
                      </a:pPr>
                      <a:r>
                        <a:rPr sz="900">
                          <a:latin typeface="Nexa Book (Body)"/>
                        </a:rPr>
                        <a:t>Boursin/Carrefour</a:t>
                      </a:r>
                    </a:p>
                  </a:txBody>
                  <a:tcPr marL="36000" marR="36000" marT="4763" marB="0" anchor="ctr">
                    <a:solidFill>
                      <a:srgbClr val="CBEAE7"/>
                    </a:solidFill>
                  </a:tcPr>
                </a:tc>
                <a:extLst>
                  <a:ext uri="{0D108BD9-81ED-4DB2-BD59-A6C34878D82A}">
                    <a16:rowId xmlns:a16="http://schemas.microsoft.com/office/drawing/2014/main" val="362768916"/>
                  </a:ext>
                </a:extLst>
              </a:tr>
              <a:tr h="358974">
                <a:tc>
                  <a:txBody>
                    <a:bodyPr/>
                    <a:lstStyle/>
                    <a:p>
                      <a:pPr algn="ctr">
                        <a:defRPr sz="900">
                          <a:latin typeface="Nexa Book (Body)"/>
                        </a:defRPr>
                      </a:pPr>
                      <a:r>
                        <a:rPr sz="900">
                          <a:latin typeface="Nexa Book (Body)"/>
                        </a:rPr>
                        <a:t>7</a:t>
                      </a:r>
                    </a:p>
                  </a:txBody>
                  <a:tcPr marL="36000" marR="36000" marT="4763" marB="0" anchor="ctr">
                    <a:solidFill>
                      <a:srgbClr val="CBEAE7"/>
                    </a:solidFill>
                  </a:tcPr>
                </a:tc>
                <a:tc>
                  <a:txBody>
                    <a:bodyPr/>
                    <a:lstStyle/>
                    <a:p>
                      <a:pPr algn="l">
                        <a:defRPr sz="900">
                          <a:latin typeface="Nexa Book (Body)"/>
                        </a:defRPr>
                      </a:pPr>
                      <a:r>
                        <a:rPr sz="900">
                          <a:latin typeface="Nexa Book (Body)"/>
                        </a:rPr>
                        <a:t>St Moret/Intermarche</a:t>
                      </a:r>
                    </a:p>
                  </a:txBody>
                  <a:tcPr marL="36000" marR="36000" marT="4763" marB="0" anchor="ctr">
                    <a:solidFill>
                      <a:srgbClr val="CBEAE7"/>
                    </a:solidFill>
                  </a:tcPr>
                </a:tc>
                <a:extLst>
                  <a:ext uri="{0D108BD9-81ED-4DB2-BD59-A6C34878D82A}">
                    <a16:rowId xmlns:a16="http://schemas.microsoft.com/office/drawing/2014/main" val="1139766948"/>
                  </a:ext>
                </a:extLst>
              </a:tr>
              <a:tr h="358974">
                <a:tc>
                  <a:txBody>
                    <a:bodyPr/>
                    <a:lstStyle/>
                    <a:p>
                      <a:pPr algn="ctr">
                        <a:defRPr sz="900">
                          <a:latin typeface="Nexa Book (Body)"/>
                        </a:defRPr>
                      </a:pPr>
                      <a:r>
                        <a:rPr sz="900">
                          <a:latin typeface="Nexa Book (Body)"/>
                        </a:rPr>
                        <a:t>8</a:t>
                      </a:r>
                    </a:p>
                  </a:txBody>
                  <a:tcPr marL="36000" marR="36000" marT="4763" marB="0" anchor="ctr">
                    <a:solidFill>
                      <a:srgbClr val="CBEAE7"/>
                    </a:solidFill>
                  </a:tcPr>
                </a:tc>
                <a:tc>
                  <a:txBody>
                    <a:bodyPr/>
                    <a:lstStyle/>
                    <a:p>
                      <a:pPr algn="l">
                        <a:defRPr sz="900">
                          <a:latin typeface="Nexa Book (Body)"/>
                        </a:defRPr>
                      </a:pPr>
                      <a:r>
                        <a:rPr sz="900">
                          <a:latin typeface="Nexa Book (Body)"/>
                        </a:rPr>
                        <a:t>Private Label/Intermarche</a:t>
                      </a:r>
                    </a:p>
                  </a:txBody>
                  <a:tcPr marL="36000" marR="36000" marT="4763" marB="0" anchor="ctr">
                    <a:solidFill>
                      <a:srgbClr val="CBEAE7"/>
                    </a:solidFill>
                  </a:tcPr>
                </a:tc>
                <a:extLst>
                  <a:ext uri="{0D108BD9-81ED-4DB2-BD59-A6C34878D82A}">
                    <a16:rowId xmlns:a16="http://schemas.microsoft.com/office/drawing/2014/main" val="1687090376"/>
                  </a:ext>
                </a:extLst>
              </a:tr>
              <a:tr h="358974">
                <a:tc>
                  <a:txBody>
                    <a:bodyPr/>
                    <a:lstStyle/>
                    <a:p>
                      <a:pPr algn="ctr">
                        <a:defRPr sz="900">
                          <a:latin typeface="Nexa Book (Body)"/>
                        </a:defRPr>
                      </a:pPr>
                      <a:r>
                        <a:rPr sz="900">
                          <a:latin typeface="Nexa Book (Body)"/>
                        </a:rPr>
                        <a:t>9</a:t>
                      </a:r>
                    </a:p>
                  </a:txBody>
                  <a:tcPr marL="36000" marR="36000" marT="4763" marB="0" anchor="ctr">
                    <a:solidFill>
                      <a:srgbClr val="FFBFBF"/>
                    </a:solidFill>
                  </a:tcPr>
                </a:tc>
                <a:tc>
                  <a:txBody>
                    <a:bodyPr/>
                    <a:lstStyle/>
                    <a:p>
                      <a:pPr algn="l">
                        <a:defRPr sz="900">
                          <a:latin typeface="Nexa Book (Body)"/>
                        </a:defRPr>
                      </a:pPr>
                      <a:r>
                        <a:rPr sz="900">
                          <a:latin typeface="Nexa Book (Body)"/>
                        </a:rPr>
                        <a:t>Private Label/Carrefour</a:t>
                      </a:r>
                    </a:p>
                  </a:txBody>
                  <a:tcPr marL="36000" marR="36000" marT="4763" marB="0" anchor="ctr">
                    <a:solidFill>
                      <a:srgbClr val="FFBFBF"/>
                    </a:solidFill>
                  </a:tcPr>
                </a:tc>
                <a:extLst>
                  <a:ext uri="{0D108BD9-81ED-4DB2-BD59-A6C34878D82A}">
                    <a16:rowId xmlns:a16="http://schemas.microsoft.com/office/drawing/2014/main" val="1182192680"/>
                  </a:ext>
                </a:extLst>
              </a:tr>
              <a:tr h="358974">
                <a:tc>
                  <a:txBody>
                    <a:bodyPr/>
                    <a:lstStyle/>
                    <a:p>
                      <a:pPr algn="ctr">
                        <a:defRPr sz="900">
                          <a:latin typeface="Nexa Book (Body)"/>
                        </a:defRPr>
                      </a:pPr>
                      <a:r>
                        <a:rPr sz="900">
                          <a:latin typeface="Nexa Book (Body)"/>
                        </a:rPr>
                        <a:t>10</a:t>
                      </a:r>
                    </a:p>
                  </a:txBody>
                  <a:tcPr marL="36000" marR="36000" marT="4763" marB="0" anchor="ctr">
                    <a:solidFill>
                      <a:srgbClr val="F2F2F2"/>
                    </a:solidFill>
                  </a:tcPr>
                </a:tc>
                <a:tc>
                  <a:txBody>
                    <a:bodyPr/>
                    <a:lstStyle/>
                    <a:p>
                      <a:pPr algn="l">
                        <a:defRPr sz="900">
                          <a:latin typeface="Nexa Book (Body)"/>
                        </a:defRPr>
                      </a:pPr>
                      <a:r>
                        <a:rPr sz="900">
                          <a:latin typeface="Nexa Book (Body)"/>
                        </a:rPr>
                        <a:t>St Moret/Carrefour</a:t>
                      </a:r>
                    </a:p>
                  </a:txBody>
                  <a:tcPr marL="36000" marR="36000" marT="4763" marB="0" anchor="ctr">
                    <a:solidFill>
                      <a:srgbClr val="F2F2F2"/>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9/25/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1160811367"/>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Enfant | RETAILER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358974">
                <a:tc>
                  <a:txBody>
                    <a:bodyPr/>
                    <a:lstStyle/>
                    <a:p>
                      <a:pPr algn="ctr">
                        <a:defRPr sz="900">
                          <a:latin typeface="Nexa Book (Body)"/>
                        </a:defRPr>
                      </a:pPr>
                      <a:r>
                        <a:rPr sz="900">
                          <a:latin typeface="Nexa Book (Body)"/>
                        </a:rPr>
                        <a:t>1</a:t>
                      </a:r>
                    </a:p>
                  </a:txBody>
                  <a:tcPr marL="36000" marR="36000" marT="4763" marB="0" anchor="ctr">
                    <a:solidFill>
                      <a:srgbClr val="F2F2F2"/>
                    </a:solidFill>
                  </a:tcPr>
                </a:tc>
                <a:tc>
                  <a:txBody>
                    <a:bodyPr/>
                    <a:lstStyle/>
                    <a:p>
                      <a:pPr algn="l">
                        <a:defRPr sz="900">
                          <a:latin typeface="Nexa Book (Body)"/>
                        </a:defRPr>
                      </a:pPr>
                      <a:r>
                        <a:rPr sz="900">
                          <a:latin typeface="Nexa Book (Body)"/>
                        </a:rPr>
                        <a:t>La Vache Qui Rit/Carrefour</a:t>
                      </a:r>
                    </a:p>
                  </a:txBody>
                  <a:tcPr marL="36000" marR="36000" marT="4763" marB="0" anchor="ctr">
                    <a:solidFill>
                      <a:srgbClr val="F2F2F2"/>
                    </a:solidFill>
                  </a:tcPr>
                </a:tc>
                <a:extLst>
                  <a:ext uri="{0D108BD9-81ED-4DB2-BD59-A6C34878D82A}">
                    <a16:rowId xmlns:a16="http://schemas.microsoft.com/office/drawing/2014/main" val="264026324"/>
                  </a:ext>
                </a:extLst>
              </a:tr>
              <a:tr h="358974">
                <a:tc>
                  <a:txBody>
                    <a:bodyPr/>
                    <a:lstStyle/>
                    <a:p>
                      <a:pPr algn="ctr">
                        <a:defRPr sz="900">
                          <a:latin typeface="Nexa Book (Body)"/>
                        </a:defRPr>
                      </a:pPr>
                      <a:r>
                        <a:rPr sz="900">
                          <a:latin typeface="Nexa Book (Body)"/>
                        </a:rPr>
                        <a:t>2</a:t>
                      </a:r>
                    </a:p>
                  </a:txBody>
                  <a:tcPr marL="36000" marR="36000" marT="4763" marB="0" anchor="ctr">
                    <a:solidFill>
                      <a:srgbClr val="F2F2F2"/>
                    </a:solidFill>
                  </a:tcPr>
                </a:tc>
                <a:tc>
                  <a:txBody>
                    <a:bodyPr/>
                    <a:lstStyle/>
                    <a:p>
                      <a:pPr algn="l">
                        <a:defRPr sz="900">
                          <a:latin typeface="Nexa Book (Body)"/>
                        </a:defRPr>
                      </a:pPr>
                      <a:r>
                        <a:rPr sz="900">
                          <a:latin typeface="Nexa Book (Body)"/>
                        </a:rPr>
                        <a:t>Mini Babybel/Carrefour</a:t>
                      </a:r>
                    </a:p>
                  </a:txBody>
                  <a:tcPr marL="36000" marR="36000" marT="4763" marB="0" anchor="ctr">
                    <a:solidFill>
                      <a:srgbClr val="F2F2F2"/>
                    </a:solidFill>
                  </a:tcPr>
                </a:tc>
                <a:extLst>
                  <a:ext uri="{0D108BD9-81ED-4DB2-BD59-A6C34878D82A}">
                    <a16:rowId xmlns:a16="http://schemas.microsoft.com/office/drawing/2014/main" val="613793393"/>
                  </a:ext>
                </a:extLst>
              </a:tr>
              <a:tr h="358974">
                <a:tc>
                  <a:txBody>
                    <a:bodyPr/>
                    <a:lstStyle/>
                    <a:p>
                      <a:pPr algn="ctr">
                        <a:defRPr sz="900">
                          <a:latin typeface="Nexa Book (Body)"/>
                        </a:defRPr>
                      </a:pPr>
                      <a:r>
                        <a:rPr sz="900">
                          <a:latin typeface="Nexa Book (Body)"/>
                        </a:rPr>
                        <a:t>3</a:t>
                      </a:r>
                    </a:p>
                  </a:txBody>
                  <a:tcPr marL="36000" marR="36000" marT="4763" marB="0" anchor="ctr">
                    <a:solidFill>
                      <a:srgbClr val="CBEAE7"/>
                    </a:solidFill>
                  </a:tcPr>
                </a:tc>
                <a:tc>
                  <a:txBody>
                    <a:bodyPr/>
                    <a:lstStyle/>
                    <a:p>
                      <a:pPr algn="l">
                        <a:defRPr sz="900">
                          <a:latin typeface="Nexa Book (Body)"/>
                        </a:defRPr>
                      </a:pPr>
                      <a:r>
                        <a:rPr sz="900">
                          <a:latin typeface="Nexa Book (Body)"/>
                        </a:rPr>
                        <a:t>La Vache Qui Rit/Intermarche</a:t>
                      </a:r>
                    </a:p>
                  </a:txBody>
                  <a:tcPr marL="36000" marR="36000" marT="4763" marB="0" anchor="ctr">
                    <a:solidFill>
                      <a:srgbClr val="CBEAE7"/>
                    </a:solidFill>
                  </a:tcPr>
                </a:tc>
                <a:extLst>
                  <a:ext uri="{0D108BD9-81ED-4DB2-BD59-A6C34878D82A}">
                    <a16:rowId xmlns:a16="http://schemas.microsoft.com/office/drawing/2014/main" val="4246246309"/>
                  </a:ext>
                </a:extLst>
              </a:tr>
              <a:tr h="358974">
                <a:tc>
                  <a:txBody>
                    <a:bodyPr/>
                    <a:lstStyle/>
                    <a:p>
                      <a:pPr algn="ctr">
                        <a:defRPr sz="900">
                          <a:latin typeface="Nexa Book (Body)"/>
                        </a:defRPr>
                      </a:pPr>
                      <a:r>
                        <a:rPr sz="900">
                          <a:latin typeface="Nexa Book (Body)"/>
                        </a:rPr>
                        <a:t>4</a:t>
                      </a:r>
                    </a:p>
                  </a:txBody>
                  <a:tcPr marL="36000" marR="36000" marT="4763" marB="0" anchor="ctr">
                    <a:solidFill>
                      <a:srgbClr val="CBEAE7"/>
                    </a:solidFill>
                  </a:tcPr>
                </a:tc>
                <a:tc>
                  <a:txBody>
                    <a:bodyPr/>
                    <a:lstStyle/>
                    <a:p>
                      <a:pPr algn="l">
                        <a:defRPr sz="900">
                          <a:latin typeface="Nexa Book (Body)"/>
                        </a:defRPr>
                      </a:pPr>
                      <a:r>
                        <a:rPr sz="900">
                          <a:latin typeface="Nexa Book (Body)"/>
                        </a:rPr>
                        <a:t>Kiri/Carrefour</a:t>
                      </a:r>
                    </a:p>
                  </a:txBody>
                  <a:tcPr marL="36000" marR="36000" marT="4763" marB="0" anchor="ctr">
                    <a:solidFill>
                      <a:srgbClr val="CBEAE7"/>
                    </a:solidFill>
                  </a:tcPr>
                </a:tc>
                <a:extLst>
                  <a:ext uri="{0D108BD9-81ED-4DB2-BD59-A6C34878D82A}">
                    <a16:rowId xmlns:a16="http://schemas.microsoft.com/office/drawing/2014/main" val="418503086"/>
                  </a:ext>
                </a:extLst>
              </a:tr>
              <a:tr h="358974">
                <a:tc>
                  <a:txBody>
                    <a:bodyPr/>
                    <a:lstStyle/>
                    <a:p>
                      <a:pPr algn="ctr">
                        <a:defRPr sz="900">
                          <a:latin typeface="Nexa Book (Body)"/>
                        </a:defRPr>
                      </a:pPr>
                      <a:r>
                        <a:rPr sz="900">
                          <a:latin typeface="Nexa Book (Body)"/>
                        </a:rPr>
                        <a:t>5</a:t>
                      </a:r>
                    </a:p>
                  </a:txBody>
                  <a:tcPr marL="36000" marR="36000" marT="4763" marB="0" anchor="ctr">
                    <a:solidFill>
                      <a:srgbClr val="FFBFBF"/>
                    </a:solidFill>
                  </a:tcPr>
                </a:tc>
                <a:tc>
                  <a:txBody>
                    <a:bodyPr/>
                    <a:lstStyle/>
                    <a:p>
                      <a:pPr algn="l">
                        <a:defRPr sz="900">
                          <a:latin typeface="Nexa Book (Body)"/>
                        </a:defRPr>
                      </a:pPr>
                      <a:r>
                        <a:rPr sz="900">
                          <a:latin typeface="Nexa Book (Body)"/>
                        </a:rPr>
                        <a:t>Mini Babybel/Intermarche</a:t>
                      </a:r>
                    </a:p>
                  </a:txBody>
                  <a:tcPr marL="36000" marR="36000" marT="4763" marB="0" anchor="ctr">
                    <a:solidFill>
                      <a:srgbClr val="FFBFBF"/>
                    </a:solidFill>
                  </a:tcPr>
                </a:tc>
                <a:extLst>
                  <a:ext uri="{0D108BD9-81ED-4DB2-BD59-A6C34878D82A}">
                    <a16:rowId xmlns:a16="http://schemas.microsoft.com/office/drawing/2014/main" val="381854689"/>
                  </a:ext>
                </a:extLst>
              </a:tr>
              <a:tr h="358974">
                <a:tc>
                  <a:txBody>
                    <a:bodyPr/>
                    <a:lstStyle/>
                    <a:p>
                      <a:pPr algn="ctr">
                        <a:defRPr sz="900">
                          <a:latin typeface="Nexa Book (Body)"/>
                        </a:defRPr>
                      </a:pPr>
                      <a:r>
                        <a:rPr sz="900">
                          <a:latin typeface="Nexa Book (Body)"/>
                        </a:rPr>
                        <a:t>6</a:t>
                      </a:r>
                    </a:p>
                  </a:txBody>
                  <a:tcPr marL="36000" marR="36000" marT="4763" marB="0" anchor="ctr">
                    <a:solidFill>
                      <a:srgbClr val="CBEAE7"/>
                    </a:solidFill>
                  </a:tcPr>
                </a:tc>
                <a:tc>
                  <a:txBody>
                    <a:bodyPr/>
                    <a:lstStyle/>
                    <a:p>
                      <a:pPr algn="l">
                        <a:defRPr sz="900">
                          <a:latin typeface="Nexa Book (Body)"/>
                        </a:defRPr>
                      </a:pPr>
                      <a:r>
                        <a:rPr sz="900">
                          <a:latin typeface="Nexa Book (Body)"/>
                        </a:rPr>
                        <a:t>Kiri/Intermarche</a:t>
                      </a:r>
                    </a:p>
                  </a:txBody>
                  <a:tcPr marL="36000" marR="36000" marT="4763" marB="0" anchor="ctr">
                    <a:solidFill>
                      <a:srgbClr val="CBEAE7"/>
                    </a:solidFill>
                  </a:tcPr>
                </a:tc>
                <a:extLst>
                  <a:ext uri="{0D108BD9-81ED-4DB2-BD59-A6C34878D82A}">
                    <a16:rowId xmlns:a16="http://schemas.microsoft.com/office/drawing/2014/main" val="362768916"/>
                  </a:ext>
                </a:extLst>
              </a:tr>
              <a:tr h="358974">
                <a:tc>
                  <a:txBody>
                    <a:bodyPr/>
                    <a:lstStyle/>
                    <a:p>
                      <a:pPr algn="ctr">
                        <a:defRPr sz="900">
                          <a:latin typeface="Nexa Book (Body)"/>
                        </a:defRPr>
                      </a:pPr>
                      <a:r>
                        <a:rPr sz="900">
                          <a:latin typeface="Nexa Book (Body)"/>
                        </a:rPr>
                        <a:t>7</a:t>
                      </a:r>
                    </a:p>
                  </a:txBody>
                  <a:tcPr marL="36000" marR="36000" marT="4763" marB="0" anchor="ctr">
                    <a:solidFill>
                      <a:srgbClr val="CBEAE7"/>
                    </a:solidFill>
                  </a:tcPr>
                </a:tc>
                <a:tc>
                  <a:txBody>
                    <a:bodyPr/>
                    <a:lstStyle/>
                    <a:p>
                      <a:pPr algn="l">
                        <a:defRPr sz="900">
                          <a:latin typeface="Nexa Book (Body)"/>
                        </a:defRPr>
                      </a:pPr>
                      <a:r>
                        <a:rPr sz="900">
                          <a:latin typeface="Nexa Book (Body)"/>
                        </a:rPr>
                        <a:t>Private Label/Carrefour</a:t>
                      </a:r>
                    </a:p>
                  </a:txBody>
                  <a:tcPr marL="36000" marR="36000" marT="4763" marB="0" anchor="ctr">
                    <a:solidFill>
                      <a:srgbClr val="CBEAE7"/>
                    </a:solidFill>
                  </a:tcPr>
                </a:tc>
                <a:extLst>
                  <a:ext uri="{0D108BD9-81ED-4DB2-BD59-A6C34878D82A}">
                    <a16:rowId xmlns:a16="http://schemas.microsoft.com/office/drawing/2014/main" val="1139766948"/>
                  </a:ext>
                </a:extLst>
              </a:tr>
              <a:tr h="358974">
                <a:tc>
                  <a:txBody>
                    <a:bodyPr/>
                    <a:lstStyle/>
                    <a:p>
                      <a:pPr algn="ctr">
                        <a:defRPr sz="900">
                          <a:latin typeface="Nexa Book (Body)"/>
                        </a:defRPr>
                      </a:pPr>
                      <a:r>
                        <a:rPr sz="900">
                          <a:latin typeface="Nexa Book (Body)"/>
                        </a:rPr>
                        <a:t>8</a:t>
                      </a:r>
                    </a:p>
                  </a:txBody>
                  <a:tcPr marL="36000" marR="36000" marT="4763" marB="0" anchor="ctr">
                    <a:solidFill>
                      <a:srgbClr val="FFBFBF"/>
                    </a:solidFill>
                  </a:tcPr>
                </a:tc>
                <a:tc>
                  <a:txBody>
                    <a:bodyPr/>
                    <a:lstStyle/>
                    <a:p>
                      <a:pPr algn="l">
                        <a:defRPr sz="900">
                          <a:latin typeface="Nexa Book (Body)"/>
                        </a:defRPr>
                      </a:pPr>
                      <a:r>
                        <a:rPr sz="900">
                          <a:latin typeface="Nexa Book (Body)"/>
                        </a:rPr>
                        <a:t>Private Label/Intermarche</a:t>
                      </a:r>
                    </a:p>
                  </a:txBody>
                  <a:tcPr marL="36000" marR="36000" marT="4763" marB="0" anchor="ctr">
                    <a:solidFill>
                      <a:srgbClr val="FFBFBF"/>
                    </a:solidFill>
                  </a:tcPr>
                </a:tc>
                <a:extLst>
                  <a:ext uri="{0D108BD9-81ED-4DB2-BD59-A6C34878D82A}">
                    <a16:rowId xmlns:a16="http://schemas.microsoft.com/office/drawing/2014/main" val="1687090376"/>
                  </a:ext>
                </a:extLst>
              </a:tr>
              <a:tr h="358974">
                <a:tc>
                  <a:txBody>
                    <a:bodyPr/>
                    <a:lstStyle/>
                    <a:p>
                      <a:pPr algn="ctr">
                        <a:defRPr sz="900">
                          <a:latin typeface="Nexa Book (Body)"/>
                        </a:defRPr>
                      </a:pPr>
                      <a:r>
                        <a:rPr sz="900">
                          <a:latin typeface="Nexa Book (Body)"/>
                        </a:rPr>
                        <a:t>9</a:t>
                      </a:r>
                    </a:p>
                  </a:txBody>
                  <a:tcPr marL="36000" marR="36000" marT="4763" marB="0" anchor="ctr">
                    <a:solidFill>
                      <a:srgbClr val="CBEAE7"/>
                    </a:solidFill>
                  </a:tcPr>
                </a:tc>
                <a:tc>
                  <a:txBody>
                    <a:bodyPr/>
                    <a:lstStyle/>
                    <a:p>
                      <a:pPr algn="l">
                        <a:defRPr sz="900">
                          <a:latin typeface="Nexa Book (Body)"/>
                        </a:defRPr>
                      </a:pPr>
                      <a:r>
                        <a:rPr sz="900">
                          <a:latin typeface="Nexa Book (Body)"/>
                        </a:rPr>
                        <a:t>Ficello/Carrefour</a:t>
                      </a:r>
                    </a:p>
                  </a:txBody>
                  <a:tcPr marL="36000" marR="36000" marT="4763" marB="0" anchor="ctr">
                    <a:solidFill>
                      <a:srgbClr val="CBEAE7"/>
                    </a:solidFill>
                  </a:tcPr>
                </a:tc>
                <a:extLst>
                  <a:ext uri="{0D108BD9-81ED-4DB2-BD59-A6C34878D82A}">
                    <a16:rowId xmlns:a16="http://schemas.microsoft.com/office/drawing/2014/main" val="1182192680"/>
                  </a:ext>
                </a:extLst>
              </a:tr>
              <a:tr h="358974">
                <a:tc>
                  <a:txBody>
                    <a:bodyPr/>
                    <a:lstStyle/>
                    <a:p>
                      <a:pPr algn="ctr">
                        <a:defRPr sz="900">
                          <a:latin typeface="Nexa Book (Body)"/>
                        </a:defRPr>
                      </a:pPr>
                      <a:r>
                        <a:rPr sz="900">
                          <a:latin typeface="Nexa Book (Body)"/>
                        </a:rPr>
                        <a:t>10</a:t>
                      </a:r>
                    </a:p>
                  </a:txBody>
                  <a:tcPr marL="36000" marR="36000" marT="4763" marB="0" anchor="ctr">
                    <a:solidFill>
                      <a:srgbClr val="CBEAE7"/>
                    </a:solidFill>
                  </a:tcPr>
                </a:tc>
                <a:tc>
                  <a:txBody>
                    <a:bodyPr/>
                    <a:lstStyle/>
                    <a:p>
                      <a:pPr algn="l">
                        <a:defRPr sz="900">
                          <a:latin typeface="Nexa Book (Body)"/>
                        </a:defRPr>
                      </a:pPr>
                      <a:r>
                        <a:rPr sz="900">
                          <a:latin typeface="Nexa Book (Body)"/>
                        </a:rPr>
                        <a:t>Ficello/Intermarche</a:t>
                      </a:r>
                    </a:p>
                  </a:txBody>
                  <a:tcPr marL="36000" marR="36000" marT="4763" marB="0" anchor="ctr">
                    <a:solidFill>
                      <a:srgbClr val="CBEAE7"/>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9/25/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3598170494"/>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Frais A Tartiner | RETAILER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29"/>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276133">
                <a:tc>
                  <a:txBody>
                    <a:bodyPr/>
                    <a:lstStyle/>
                    <a:p>
                      <a:pPr algn="ctr">
                        <a:defRPr sz="900">
                          <a:latin typeface="Nexa Book (Body)"/>
                        </a:defRPr>
                      </a:pPr>
                      <a:r>
                        <a:rPr sz="900">
                          <a:latin typeface="Nexa Book (Body)"/>
                        </a:rPr>
                        <a:t>1</a:t>
                      </a:r>
                    </a:p>
                  </a:txBody>
                  <a:tcPr marL="36000" marR="36000" marT="4763" marB="0" anchor="ctr">
                    <a:solidFill>
                      <a:srgbClr val="CBEAE7"/>
                    </a:solidFill>
                  </a:tcPr>
                </a:tc>
                <a:tc>
                  <a:txBody>
                    <a:bodyPr/>
                    <a:lstStyle/>
                    <a:p>
                      <a:pPr algn="l">
                        <a:defRPr sz="900">
                          <a:latin typeface="Nexa Book (Body)"/>
                        </a:defRPr>
                      </a:pPr>
                      <a:r>
                        <a:rPr sz="900">
                          <a:latin typeface="Nexa Book (Body)"/>
                        </a:rPr>
                        <a:t>St Moret/Carrefour</a:t>
                      </a:r>
                    </a:p>
                  </a:txBody>
                  <a:tcPr marL="36000" marR="36000" marT="4763" marB="0" anchor="ctr">
                    <a:solidFill>
                      <a:srgbClr val="CBEAE7"/>
                    </a:solidFill>
                  </a:tcPr>
                </a:tc>
                <a:extLst>
                  <a:ext uri="{0D108BD9-81ED-4DB2-BD59-A6C34878D82A}">
                    <a16:rowId xmlns:a16="http://schemas.microsoft.com/office/drawing/2014/main" val="3518559538"/>
                  </a:ext>
                </a:extLst>
              </a:tr>
              <a:tr h="276133">
                <a:tc>
                  <a:txBody>
                    <a:bodyPr/>
                    <a:lstStyle/>
                    <a:p>
                      <a:pPr algn="ctr">
                        <a:defRPr sz="900">
                          <a:latin typeface="Nexa Book (Body)"/>
                        </a:defRPr>
                      </a:pPr>
                      <a:r>
                        <a:rPr sz="900">
                          <a:latin typeface="Nexa Book (Body)"/>
                        </a:rPr>
                        <a:t>2</a:t>
                      </a:r>
                    </a:p>
                  </a:txBody>
                  <a:tcPr marL="36000" marR="36000" marT="4763" marB="0" anchor="ctr">
                    <a:solidFill>
                      <a:srgbClr val="CBEAE7"/>
                    </a:solidFill>
                  </a:tcPr>
                </a:tc>
                <a:tc>
                  <a:txBody>
                    <a:bodyPr/>
                    <a:lstStyle/>
                    <a:p>
                      <a:pPr algn="l">
                        <a:defRPr sz="900">
                          <a:latin typeface="Nexa Book (Body)"/>
                        </a:defRPr>
                      </a:pPr>
                      <a:r>
                        <a:rPr sz="900">
                          <a:latin typeface="Nexa Book (Body)"/>
                        </a:rPr>
                        <a:t>St Moret/Intermarche</a:t>
                      </a:r>
                    </a:p>
                  </a:txBody>
                  <a:tcPr marL="36000" marR="36000" marT="4763" marB="0" anchor="ctr">
                    <a:solidFill>
                      <a:srgbClr val="CBEAE7"/>
                    </a:solidFill>
                  </a:tcPr>
                </a:tc>
                <a:extLst>
                  <a:ext uri="{0D108BD9-81ED-4DB2-BD59-A6C34878D82A}">
                    <a16:rowId xmlns:a16="http://schemas.microsoft.com/office/drawing/2014/main" val="3886752891"/>
                  </a:ext>
                </a:extLst>
              </a:tr>
              <a:tr h="276133">
                <a:tc>
                  <a:txBody>
                    <a:bodyPr/>
                    <a:lstStyle/>
                    <a:p>
                      <a:pPr algn="ctr">
                        <a:defRPr sz="900">
                          <a:latin typeface="Nexa Book (Body)"/>
                        </a:defRPr>
                      </a:pPr>
                      <a:r>
                        <a:rPr sz="900">
                          <a:latin typeface="Nexa Book (Body)"/>
                        </a:rPr>
                        <a:t>3</a:t>
                      </a:r>
                    </a:p>
                  </a:txBody>
                  <a:tcPr marL="36000" marR="36000" marT="4763" marB="0" anchor="ctr">
                    <a:solidFill>
                      <a:srgbClr val="FFBFBF"/>
                    </a:solidFill>
                  </a:tcPr>
                </a:tc>
                <a:tc>
                  <a:txBody>
                    <a:bodyPr/>
                    <a:lstStyle/>
                    <a:p>
                      <a:pPr algn="l">
                        <a:defRPr sz="900">
                          <a:latin typeface="Nexa Book (Body)"/>
                        </a:defRPr>
                      </a:pPr>
                      <a:r>
                        <a:rPr sz="900">
                          <a:latin typeface="Nexa Book (Body)"/>
                        </a:rPr>
                        <a:t>Private Label/Carrefour</a:t>
                      </a:r>
                    </a:p>
                  </a:txBody>
                  <a:tcPr marL="36000" marR="36000" marT="4763" marB="0" anchor="ctr">
                    <a:solidFill>
                      <a:srgbClr val="FFBFBF"/>
                    </a:solidFill>
                  </a:tcPr>
                </a:tc>
                <a:extLst>
                  <a:ext uri="{0D108BD9-81ED-4DB2-BD59-A6C34878D82A}">
                    <a16:rowId xmlns:a16="http://schemas.microsoft.com/office/drawing/2014/main" val="3477306869"/>
                  </a:ext>
                </a:extLst>
              </a:tr>
              <a:tr h="276133">
                <a:tc>
                  <a:txBody>
                    <a:bodyPr/>
                    <a:lstStyle/>
                    <a:p>
                      <a:pPr algn="ctr">
                        <a:defRPr sz="900">
                          <a:latin typeface="Nexa Book (Body)"/>
                        </a:defRPr>
                      </a:pPr>
                      <a:r>
                        <a:rPr sz="900">
                          <a:latin typeface="Nexa Book (Body)"/>
                        </a:rPr>
                        <a:t>4</a:t>
                      </a:r>
                    </a:p>
                  </a:txBody>
                  <a:tcPr marL="36000" marR="36000" marT="4763" marB="0" anchor="ctr">
                    <a:solidFill>
                      <a:srgbClr val="CBEAE7"/>
                    </a:solidFill>
                  </a:tcPr>
                </a:tc>
                <a:tc>
                  <a:txBody>
                    <a:bodyPr/>
                    <a:lstStyle/>
                    <a:p>
                      <a:pPr algn="l">
                        <a:defRPr sz="900">
                          <a:latin typeface="Nexa Book (Body)"/>
                        </a:defRPr>
                      </a:pPr>
                      <a:r>
                        <a:rPr sz="900">
                          <a:latin typeface="Nexa Book (Body)"/>
                        </a:rPr>
                        <a:t>Paysan Breton/Carrefour</a:t>
                      </a:r>
                    </a:p>
                  </a:txBody>
                  <a:tcPr marL="36000" marR="36000" marT="4763" marB="0" anchor="ctr">
                    <a:solidFill>
                      <a:srgbClr val="CBEAE7"/>
                    </a:solidFill>
                  </a:tcPr>
                </a:tc>
                <a:extLst>
                  <a:ext uri="{0D108BD9-81ED-4DB2-BD59-A6C34878D82A}">
                    <a16:rowId xmlns:a16="http://schemas.microsoft.com/office/drawing/2014/main" val="264026324"/>
                  </a:ext>
                </a:extLst>
              </a:tr>
              <a:tr h="276133">
                <a:tc>
                  <a:txBody>
                    <a:bodyPr/>
                    <a:lstStyle/>
                    <a:p>
                      <a:pPr algn="ctr">
                        <a:defRPr sz="900">
                          <a:latin typeface="Nexa Book (Body)"/>
                        </a:defRPr>
                      </a:pPr>
                      <a:r>
                        <a:rPr sz="900">
                          <a:latin typeface="Nexa Book (Body)"/>
                        </a:rPr>
                        <a:t>5</a:t>
                      </a:r>
                    </a:p>
                  </a:txBody>
                  <a:tcPr marL="36000" marR="36000" marT="4763" marB="0" anchor="ctr">
                    <a:solidFill>
                      <a:srgbClr val="FFBFBF"/>
                    </a:solidFill>
                  </a:tcPr>
                </a:tc>
                <a:tc>
                  <a:txBody>
                    <a:bodyPr/>
                    <a:lstStyle/>
                    <a:p>
                      <a:pPr algn="l">
                        <a:defRPr sz="900">
                          <a:latin typeface="Nexa Book (Body)"/>
                        </a:defRPr>
                      </a:pPr>
                      <a:r>
                        <a:rPr sz="900">
                          <a:latin typeface="Nexa Book (Body)"/>
                        </a:rPr>
                        <a:t>Private Label/Intermarche</a:t>
                      </a:r>
                    </a:p>
                  </a:txBody>
                  <a:tcPr marL="36000" marR="36000" marT="4763" marB="0" anchor="ctr">
                    <a:solidFill>
                      <a:srgbClr val="FFBFBF"/>
                    </a:solidFill>
                  </a:tcPr>
                </a:tc>
                <a:extLst>
                  <a:ext uri="{0D108BD9-81ED-4DB2-BD59-A6C34878D82A}">
                    <a16:rowId xmlns:a16="http://schemas.microsoft.com/office/drawing/2014/main" val="613793393"/>
                  </a:ext>
                </a:extLst>
              </a:tr>
              <a:tr h="276133">
                <a:tc>
                  <a:txBody>
                    <a:bodyPr/>
                    <a:lstStyle/>
                    <a:p>
                      <a:pPr algn="ctr">
                        <a:defRPr sz="900">
                          <a:latin typeface="Nexa Book (Body)"/>
                        </a:defRPr>
                      </a:pPr>
                      <a:r>
                        <a:rPr sz="900">
                          <a:latin typeface="Nexa Book (Body)"/>
                        </a:rPr>
                        <a:t>6</a:t>
                      </a:r>
                    </a:p>
                  </a:txBody>
                  <a:tcPr marL="36000" marR="36000" marT="4763" marB="0" anchor="ctr">
                    <a:solidFill>
                      <a:srgbClr val="FFBFBF"/>
                    </a:solidFill>
                  </a:tcPr>
                </a:tc>
                <a:tc>
                  <a:txBody>
                    <a:bodyPr/>
                    <a:lstStyle/>
                    <a:p>
                      <a:pPr algn="l">
                        <a:defRPr sz="900">
                          <a:latin typeface="Nexa Book (Body)"/>
                        </a:defRPr>
                      </a:pPr>
                      <a:r>
                        <a:rPr sz="900">
                          <a:latin typeface="Nexa Book (Body)"/>
                        </a:rPr>
                        <a:t>Boursin/Intermarche</a:t>
                      </a:r>
                    </a:p>
                  </a:txBody>
                  <a:tcPr marL="36000" marR="36000" marT="4763" marB="0" anchor="ctr">
                    <a:solidFill>
                      <a:srgbClr val="FFBFBF"/>
                    </a:solidFill>
                  </a:tcPr>
                </a:tc>
                <a:extLst>
                  <a:ext uri="{0D108BD9-81ED-4DB2-BD59-A6C34878D82A}">
                    <a16:rowId xmlns:a16="http://schemas.microsoft.com/office/drawing/2014/main" val="4246246309"/>
                  </a:ext>
                </a:extLst>
              </a:tr>
              <a:tr h="276133">
                <a:tc>
                  <a:txBody>
                    <a:bodyPr/>
                    <a:lstStyle/>
                    <a:p>
                      <a:pPr algn="ctr">
                        <a:defRPr sz="900">
                          <a:latin typeface="Nexa Book (Body)"/>
                        </a:defRPr>
                      </a:pPr>
                      <a:r>
                        <a:rPr sz="900">
                          <a:latin typeface="Nexa Book (Body)"/>
                        </a:rPr>
                        <a:t>7</a:t>
                      </a:r>
                    </a:p>
                  </a:txBody>
                  <a:tcPr marL="36000" marR="36000" marT="4763" marB="0" anchor="ctr">
                    <a:solidFill>
                      <a:srgbClr val="FFBFBF"/>
                    </a:solidFill>
                  </a:tcPr>
                </a:tc>
                <a:tc>
                  <a:txBody>
                    <a:bodyPr/>
                    <a:lstStyle/>
                    <a:p>
                      <a:pPr algn="l">
                        <a:defRPr sz="900">
                          <a:latin typeface="Nexa Book (Body)"/>
                        </a:defRPr>
                      </a:pPr>
                      <a:r>
                        <a:rPr sz="900">
                          <a:latin typeface="Nexa Book (Body)"/>
                        </a:rPr>
                        <a:t>Tartare/Carrefour</a:t>
                      </a:r>
                    </a:p>
                  </a:txBody>
                  <a:tcPr marL="36000" marR="36000" marT="4763" marB="0" anchor="ctr">
                    <a:solidFill>
                      <a:srgbClr val="FFBFBF"/>
                    </a:solidFill>
                  </a:tcPr>
                </a:tc>
                <a:extLst>
                  <a:ext uri="{0D108BD9-81ED-4DB2-BD59-A6C34878D82A}">
                    <a16:rowId xmlns:a16="http://schemas.microsoft.com/office/drawing/2014/main" val="418503086"/>
                  </a:ext>
                </a:extLst>
              </a:tr>
              <a:tr h="276133">
                <a:tc>
                  <a:txBody>
                    <a:bodyPr/>
                    <a:lstStyle/>
                    <a:p>
                      <a:pPr algn="ctr">
                        <a:defRPr sz="900">
                          <a:latin typeface="Nexa Book (Body)"/>
                        </a:defRPr>
                      </a:pPr>
                      <a:r>
                        <a:rPr sz="900">
                          <a:latin typeface="Nexa Book (Body)"/>
                        </a:rPr>
                        <a:t>8</a:t>
                      </a:r>
                    </a:p>
                  </a:txBody>
                  <a:tcPr marL="36000" marR="36000" marT="4763" marB="0" anchor="ctr">
                    <a:solidFill>
                      <a:srgbClr val="FFBFBF"/>
                    </a:solidFill>
                  </a:tcPr>
                </a:tc>
                <a:tc>
                  <a:txBody>
                    <a:bodyPr/>
                    <a:lstStyle/>
                    <a:p>
                      <a:pPr algn="l">
                        <a:defRPr sz="900">
                          <a:latin typeface="Nexa Book (Body)"/>
                        </a:defRPr>
                      </a:pPr>
                      <a:r>
                        <a:rPr sz="900">
                          <a:latin typeface="Nexa Book (Body)"/>
                        </a:rPr>
                        <a:t>Boursin/Carrefour</a:t>
                      </a:r>
                    </a:p>
                  </a:txBody>
                  <a:tcPr marL="36000" marR="36000" marT="4763" marB="0" anchor="ctr">
                    <a:solidFill>
                      <a:srgbClr val="FFBFBF"/>
                    </a:solidFill>
                  </a:tcPr>
                </a:tc>
                <a:extLst>
                  <a:ext uri="{0D108BD9-81ED-4DB2-BD59-A6C34878D82A}">
                    <a16:rowId xmlns:a16="http://schemas.microsoft.com/office/drawing/2014/main" val="381854689"/>
                  </a:ext>
                </a:extLst>
              </a:tr>
              <a:tr h="276133">
                <a:tc>
                  <a:txBody>
                    <a:bodyPr/>
                    <a:lstStyle/>
                    <a:p>
                      <a:pPr algn="ctr">
                        <a:defRPr sz="900">
                          <a:latin typeface="Nexa Book (Body)"/>
                        </a:defRPr>
                      </a:pPr>
                      <a:r>
                        <a:rPr sz="900">
                          <a:latin typeface="Nexa Book (Body)"/>
                        </a:rPr>
                        <a:t>9</a:t>
                      </a:r>
                    </a:p>
                  </a:txBody>
                  <a:tcPr marL="36000" marR="36000" marT="4763" marB="0" anchor="ctr">
                    <a:solidFill>
                      <a:srgbClr val="CBEAE7"/>
                    </a:solidFill>
                  </a:tcPr>
                </a:tc>
                <a:tc>
                  <a:txBody>
                    <a:bodyPr/>
                    <a:lstStyle/>
                    <a:p>
                      <a:pPr algn="l">
                        <a:defRPr sz="900">
                          <a:latin typeface="Nexa Book (Body)"/>
                        </a:defRPr>
                      </a:pPr>
                      <a:r>
                        <a:rPr sz="900">
                          <a:latin typeface="Nexa Book (Body)"/>
                        </a:rPr>
                        <a:t>Paysan Breton/Intermarche</a:t>
                      </a:r>
                    </a:p>
                  </a:txBody>
                  <a:tcPr marL="36000" marR="36000" marT="4763" marB="0" anchor="ctr">
                    <a:solidFill>
                      <a:srgbClr val="CBEAE7"/>
                    </a:solidFill>
                  </a:tcPr>
                </a:tc>
                <a:extLst>
                  <a:ext uri="{0D108BD9-81ED-4DB2-BD59-A6C34878D82A}">
                    <a16:rowId xmlns:a16="http://schemas.microsoft.com/office/drawing/2014/main" val="362768916"/>
                  </a:ext>
                </a:extLst>
              </a:tr>
              <a:tr h="276133">
                <a:tc>
                  <a:txBody>
                    <a:bodyPr/>
                    <a:lstStyle/>
                    <a:p>
                      <a:pPr algn="ctr">
                        <a:defRPr sz="900">
                          <a:latin typeface="Nexa Book (Body)"/>
                        </a:defRPr>
                      </a:pPr>
                      <a:r>
                        <a:rPr sz="900">
                          <a:latin typeface="Nexa Book (Body)"/>
                        </a:rPr>
                        <a:t>10</a:t>
                      </a:r>
                    </a:p>
                  </a:txBody>
                  <a:tcPr marL="36000" marR="36000" marT="4763" marB="0" anchor="ctr">
                    <a:solidFill>
                      <a:srgbClr val="F2F2F2"/>
                    </a:solidFill>
                  </a:tcPr>
                </a:tc>
                <a:tc>
                  <a:txBody>
                    <a:bodyPr/>
                    <a:lstStyle/>
                    <a:p>
                      <a:pPr algn="l">
                        <a:defRPr sz="900">
                          <a:latin typeface="Nexa Book (Body)"/>
                        </a:defRPr>
                      </a:pPr>
                      <a:r>
                        <a:rPr sz="900">
                          <a:latin typeface="Nexa Book (Body)"/>
                        </a:rPr>
                        <a:t>Tartare/Intermarche</a:t>
                      </a:r>
                    </a:p>
                  </a:txBody>
                  <a:tcPr marL="36000" marR="36000" marT="4763" marB="0" anchor="ctr">
                    <a:solidFill>
                      <a:srgbClr val="F2F2F2"/>
                    </a:solidFill>
                  </a:tcPr>
                </a:tc>
                <a:extLst>
                  <a:ext uri="{0D108BD9-81ED-4DB2-BD59-A6C34878D82A}">
                    <a16:rowId xmlns:a16="http://schemas.microsoft.com/office/drawing/2014/main" val="1139766948"/>
                  </a:ext>
                </a:extLst>
              </a:tr>
              <a:tr h="276133">
                <a:tc>
                  <a:txBody>
                    <a:bodyPr/>
                    <a:lstStyle/>
                    <a:p>
                      <a:pPr algn="ctr">
                        <a:defRPr sz="900">
                          <a:latin typeface="Nexa Book (Body)"/>
                        </a:defRPr>
                      </a:pPr>
                      <a:r>
                        <a:rPr sz="900">
                          <a:latin typeface="Nexa Book (Body)"/>
                        </a:rPr>
                        <a:t>11</a:t>
                      </a:r>
                    </a:p>
                  </a:txBody>
                  <a:tcPr marL="36000" marR="36000" marT="4763" marB="0" anchor="ctr">
                    <a:solidFill>
                      <a:srgbClr val="FFBFBF"/>
                    </a:solidFill>
                  </a:tcPr>
                </a:tc>
                <a:tc>
                  <a:txBody>
                    <a:bodyPr/>
                    <a:lstStyle/>
                    <a:p>
                      <a:pPr algn="l">
                        <a:defRPr sz="900">
                          <a:latin typeface="Nexa Book (Body)"/>
                        </a:defRPr>
                      </a:pPr>
                      <a:r>
                        <a:rPr sz="900">
                          <a:latin typeface="Nexa Book (Body)"/>
                        </a:rPr>
                        <a:t>Kiri/Carrefour</a:t>
                      </a:r>
                    </a:p>
                  </a:txBody>
                  <a:tcPr marL="36000" marR="36000" marT="4763" marB="0" anchor="ctr">
                    <a:solidFill>
                      <a:srgbClr val="FFBFBF"/>
                    </a:solidFill>
                  </a:tcPr>
                </a:tc>
                <a:extLst>
                  <a:ext uri="{0D108BD9-81ED-4DB2-BD59-A6C34878D82A}">
                    <a16:rowId xmlns:a16="http://schemas.microsoft.com/office/drawing/2014/main" val="1687090376"/>
                  </a:ext>
                </a:extLst>
              </a:tr>
              <a:tr h="276133">
                <a:tc>
                  <a:txBody>
                    <a:bodyPr/>
                    <a:lstStyle/>
                    <a:p>
                      <a:pPr algn="ctr">
                        <a:defRPr sz="900">
                          <a:latin typeface="Nexa Book (Body)"/>
                        </a:defRPr>
                      </a:pPr>
                      <a:r>
                        <a:rPr sz="900">
                          <a:latin typeface="Nexa Book (Body)"/>
                        </a:rPr>
                        <a:t>12</a:t>
                      </a:r>
                    </a:p>
                  </a:txBody>
                  <a:tcPr marL="36000" marR="36000" marT="4763" marB="0" anchor="ctr">
                    <a:solidFill>
                      <a:srgbClr val="F2F2F2"/>
                    </a:solidFill>
                  </a:tcPr>
                </a:tc>
                <a:tc>
                  <a:txBody>
                    <a:bodyPr/>
                    <a:lstStyle/>
                    <a:p>
                      <a:pPr algn="l">
                        <a:defRPr sz="900">
                          <a:latin typeface="Nexa Book (Body)"/>
                        </a:defRPr>
                      </a:pPr>
                      <a:r>
                        <a:rPr sz="900">
                          <a:latin typeface="Nexa Book (Body)"/>
                        </a:rPr>
                        <a:t>Kiri/Intermarche</a:t>
                      </a:r>
                    </a:p>
                  </a:txBody>
                  <a:tcPr marL="36000" marR="36000" marT="4763" marB="0" anchor="ctr">
                    <a:solidFill>
                      <a:srgbClr val="F2F2F2"/>
                    </a:solidFill>
                  </a:tcPr>
                </a:tc>
                <a:extLst>
                  <a:ext uri="{0D108BD9-81ED-4DB2-BD59-A6C34878D82A}">
                    <a16:rowId xmlns:a16="http://schemas.microsoft.com/office/drawing/2014/main" val="1182192680"/>
                  </a:ext>
                </a:extLst>
              </a:tr>
              <a:tr h="276133">
                <a:tc>
                  <a:txBody>
                    <a:bodyPr/>
                    <a:lstStyle/>
                    <a:p>
                      <a:pPr algn="ctr">
                        <a:defRPr sz="900">
                          <a:latin typeface="Nexa Book (Body)"/>
                        </a:defRPr>
                      </a:pPr>
                      <a:r>
                        <a:rPr sz="900">
                          <a:latin typeface="Nexa Book (Body)"/>
                        </a:rPr>
                        <a:t>13</a:t>
                      </a:r>
                    </a:p>
                  </a:txBody>
                  <a:tcPr marL="36000" marR="36000" marT="4763" marB="0" anchor="ctr">
                    <a:solidFill>
                      <a:srgbClr val="CBEAE7"/>
                    </a:solidFill>
                  </a:tcPr>
                </a:tc>
                <a:tc>
                  <a:txBody>
                    <a:bodyPr/>
                    <a:lstStyle/>
                    <a:p>
                      <a:pPr algn="l">
                        <a:defRPr sz="900">
                          <a:latin typeface="Nexa Book (Body)"/>
                        </a:defRPr>
                      </a:pPr>
                      <a:r>
                        <a:rPr sz="900">
                          <a:latin typeface="Nexa Book (Body)"/>
                        </a:rPr>
                        <a:t>La Vache Qui Rit/Carrefour</a:t>
                      </a:r>
                    </a:p>
                  </a:txBody>
                  <a:tcPr marL="36000" marR="36000" marT="4763" marB="0" anchor="ctr">
                    <a:solidFill>
                      <a:srgbClr val="CBEAE7"/>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9/25/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1638214883"/>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Salade | RETAILER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358974">
                <a:tc>
                  <a:txBody>
                    <a:bodyPr/>
                    <a:lstStyle/>
                    <a:p>
                      <a:pPr algn="ctr">
                        <a:defRPr sz="900">
                          <a:latin typeface="Nexa Book (Body)"/>
                        </a:defRPr>
                      </a:pPr>
                      <a:r>
                        <a:rPr sz="900">
                          <a:latin typeface="Nexa Book (Body)"/>
                        </a:rPr>
                        <a:t>1</a:t>
                      </a:r>
                    </a:p>
                  </a:txBody>
                  <a:tcPr marL="36000" marR="36000" marT="4763" marB="0" anchor="ctr">
                    <a:solidFill>
                      <a:srgbClr val="F2F2F2"/>
                    </a:solidFill>
                  </a:tcPr>
                </a:tc>
                <a:tc>
                  <a:txBody>
                    <a:bodyPr/>
                    <a:lstStyle/>
                    <a:p>
                      <a:pPr algn="l">
                        <a:defRPr sz="900">
                          <a:latin typeface="Nexa Book (Body)"/>
                        </a:defRPr>
                      </a:pPr>
                      <a:r>
                        <a:rPr sz="900">
                          <a:latin typeface="Nexa Book (Body)"/>
                        </a:rPr>
                        <a:t>Private Label/Carrefour</a:t>
                      </a:r>
                    </a:p>
                  </a:txBody>
                  <a:tcPr marL="36000" marR="36000" marT="4763" marB="0" anchor="ctr">
                    <a:solidFill>
                      <a:srgbClr val="F2F2F2"/>
                    </a:solidFill>
                  </a:tcPr>
                </a:tc>
                <a:extLst>
                  <a:ext uri="{0D108BD9-81ED-4DB2-BD59-A6C34878D82A}">
                    <a16:rowId xmlns:a16="http://schemas.microsoft.com/office/drawing/2014/main" val="264026324"/>
                  </a:ext>
                </a:extLst>
              </a:tr>
              <a:tr h="358974">
                <a:tc>
                  <a:txBody>
                    <a:bodyPr/>
                    <a:lstStyle/>
                    <a:p>
                      <a:pPr algn="ctr">
                        <a:defRPr sz="900">
                          <a:latin typeface="Nexa Book (Body)"/>
                        </a:defRPr>
                      </a:pPr>
                      <a:r>
                        <a:rPr sz="900">
                          <a:latin typeface="Nexa Book (Body)"/>
                        </a:rPr>
                        <a:t>2</a:t>
                      </a:r>
                    </a:p>
                  </a:txBody>
                  <a:tcPr marL="36000" marR="36000" marT="4763" marB="0" anchor="ctr">
                    <a:solidFill>
                      <a:srgbClr val="FFBFBF"/>
                    </a:solidFill>
                  </a:tcPr>
                </a:tc>
                <a:tc>
                  <a:txBody>
                    <a:bodyPr/>
                    <a:lstStyle/>
                    <a:p>
                      <a:pPr algn="l">
                        <a:defRPr sz="900">
                          <a:latin typeface="Nexa Book (Body)"/>
                        </a:defRPr>
                      </a:pPr>
                      <a:r>
                        <a:rPr sz="900">
                          <a:latin typeface="Nexa Book (Body)"/>
                        </a:rPr>
                        <a:t>Private Label/Intermarche</a:t>
                      </a:r>
                    </a:p>
                  </a:txBody>
                  <a:tcPr marL="36000" marR="36000" marT="4763" marB="0" anchor="ctr">
                    <a:solidFill>
                      <a:srgbClr val="FFBFBF"/>
                    </a:solidFill>
                  </a:tcPr>
                </a:tc>
                <a:extLst>
                  <a:ext uri="{0D108BD9-81ED-4DB2-BD59-A6C34878D82A}">
                    <a16:rowId xmlns:a16="http://schemas.microsoft.com/office/drawing/2014/main" val="613793393"/>
                  </a:ext>
                </a:extLst>
              </a:tr>
              <a:tr h="358974">
                <a:tc>
                  <a:txBody>
                    <a:bodyPr/>
                    <a:lstStyle/>
                    <a:p>
                      <a:pPr algn="ctr">
                        <a:defRPr sz="900">
                          <a:latin typeface="Nexa Book (Body)"/>
                        </a:defRPr>
                      </a:pPr>
                      <a:r>
                        <a:rPr sz="900">
                          <a:latin typeface="Nexa Book (Body)"/>
                        </a:rPr>
                        <a:t>3</a:t>
                      </a:r>
                    </a:p>
                  </a:txBody>
                  <a:tcPr marL="36000" marR="36000" marT="4763" marB="0" anchor="ctr">
                    <a:solidFill>
                      <a:srgbClr val="CBEAE7"/>
                    </a:solidFill>
                  </a:tcPr>
                </a:tc>
                <a:tc>
                  <a:txBody>
                    <a:bodyPr/>
                    <a:lstStyle/>
                    <a:p>
                      <a:pPr algn="l">
                        <a:defRPr sz="900">
                          <a:latin typeface="Nexa Book (Body)"/>
                        </a:defRPr>
                      </a:pPr>
                      <a:r>
                        <a:rPr sz="900">
                          <a:latin typeface="Nexa Book (Body)"/>
                        </a:rPr>
                        <a:t>All Others/Carrefour</a:t>
                      </a:r>
                    </a:p>
                  </a:txBody>
                  <a:tcPr marL="36000" marR="36000" marT="4763" marB="0" anchor="ctr">
                    <a:solidFill>
                      <a:srgbClr val="CBEAE7"/>
                    </a:solidFill>
                  </a:tcPr>
                </a:tc>
                <a:extLst>
                  <a:ext uri="{0D108BD9-81ED-4DB2-BD59-A6C34878D82A}">
                    <a16:rowId xmlns:a16="http://schemas.microsoft.com/office/drawing/2014/main" val="4246246309"/>
                  </a:ext>
                </a:extLst>
              </a:tr>
              <a:tr h="358974">
                <a:tc>
                  <a:txBody>
                    <a:bodyPr/>
                    <a:lstStyle/>
                    <a:p>
                      <a:pPr algn="ctr">
                        <a:defRPr sz="900">
                          <a:latin typeface="Nexa Book (Body)"/>
                        </a:defRPr>
                      </a:pPr>
                      <a:r>
                        <a:rPr sz="900">
                          <a:latin typeface="Nexa Book (Body)"/>
                        </a:rPr>
                        <a:t>4</a:t>
                      </a:r>
                    </a:p>
                  </a:txBody>
                  <a:tcPr marL="36000" marR="36000" marT="4763" marB="0" anchor="ctr">
                    <a:solidFill>
                      <a:srgbClr val="CBEAE7"/>
                    </a:solidFill>
                  </a:tcPr>
                </a:tc>
                <a:tc>
                  <a:txBody>
                    <a:bodyPr/>
                    <a:lstStyle/>
                    <a:p>
                      <a:pPr algn="l">
                        <a:defRPr sz="900">
                          <a:latin typeface="Nexa Book (Body)"/>
                        </a:defRPr>
                      </a:pPr>
                      <a:r>
                        <a:rPr sz="900">
                          <a:latin typeface="Nexa Book (Body)"/>
                        </a:rPr>
                        <a:t>Galbani/Intermarche</a:t>
                      </a:r>
                    </a:p>
                  </a:txBody>
                  <a:tcPr marL="36000" marR="36000" marT="4763" marB="0" anchor="ctr">
                    <a:solidFill>
                      <a:srgbClr val="CBEAE7"/>
                    </a:solidFill>
                  </a:tcPr>
                </a:tc>
                <a:extLst>
                  <a:ext uri="{0D108BD9-81ED-4DB2-BD59-A6C34878D82A}">
                    <a16:rowId xmlns:a16="http://schemas.microsoft.com/office/drawing/2014/main" val="418503086"/>
                  </a:ext>
                </a:extLst>
              </a:tr>
              <a:tr h="358974">
                <a:tc>
                  <a:txBody>
                    <a:bodyPr/>
                    <a:lstStyle/>
                    <a:p>
                      <a:pPr algn="ctr">
                        <a:defRPr sz="900">
                          <a:latin typeface="Nexa Book (Body)"/>
                        </a:defRPr>
                      </a:pPr>
                      <a:r>
                        <a:rPr sz="900">
                          <a:latin typeface="Nexa Book (Body)"/>
                        </a:rPr>
                        <a:t>5</a:t>
                      </a:r>
                    </a:p>
                  </a:txBody>
                  <a:tcPr marL="36000" marR="36000" marT="4763" marB="0" anchor="ctr">
                    <a:solidFill>
                      <a:srgbClr val="FFBFBF"/>
                    </a:solidFill>
                  </a:tcPr>
                </a:tc>
                <a:tc>
                  <a:txBody>
                    <a:bodyPr/>
                    <a:lstStyle/>
                    <a:p>
                      <a:pPr algn="l">
                        <a:defRPr sz="900">
                          <a:latin typeface="Nexa Book (Body)"/>
                        </a:defRPr>
                      </a:pPr>
                      <a:r>
                        <a:rPr sz="900">
                          <a:latin typeface="Nexa Book (Body)"/>
                        </a:rPr>
                        <a:t>Galbani/Carrefour</a:t>
                      </a:r>
                    </a:p>
                  </a:txBody>
                  <a:tcPr marL="36000" marR="36000" marT="4763" marB="0" anchor="ctr">
                    <a:solidFill>
                      <a:srgbClr val="FFBFBF"/>
                    </a:solidFill>
                  </a:tcPr>
                </a:tc>
                <a:extLst>
                  <a:ext uri="{0D108BD9-81ED-4DB2-BD59-A6C34878D82A}">
                    <a16:rowId xmlns:a16="http://schemas.microsoft.com/office/drawing/2014/main" val="381854689"/>
                  </a:ext>
                </a:extLst>
              </a:tr>
              <a:tr h="358974">
                <a:tc>
                  <a:txBody>
                    <a:bodyPr/>
                    <a:lstStyle/>
                    <a:p>
                      <a:pPr algn="ctr">
                        <a:defRPr sz="900">
                          <a:latin typeface="Nexa Book (Body)"/>
                        </a:defRPr>
                      </a:pPr>
                      <a:r>
                        <a:rPr sz="900">
                          <a:latin typeface="Nexa Book (Body)"/>
                        </a:rPr>
                        <a:t>6</a:t>
                      </a:r>
                    </a:p>
                  </a:txBody>
                  <a:tcPr marL="36000" marR="36000" marT="4763" marB="0" anchor="ctr">
                    <a:solidFill>
                      <a:srgbClr val="CBEAE7"/>
                    </a:solidFill>
                  </a:tcPr>
                </a:tc>
                <a:tc>
                  <a:txBody>
                    <a:bodyPr/>
                    <a:lstStyle/>
                    <a:p>
                      <a:pPr algn="l">
                        <a:defRPr sz="900">
                          <a:latin typeface="Nexa Book (Body)"/>
                        </a:defRPr>
                      </a:pPr>
                      <a:r>
                        <a:rPr sz="900">
                          <a:latin typeface="Nexa Book (Body)"/>
                        </a:rPr>
                        <a:t>Casa Azzurra/Carrefour</a:t>
                      </a:r>
                    </a:p>
                  </a:txBody>
                  <a:tcPr marL="36000" marR="36000" marT="4763" marB="0" anchor="ctr">
                    <a:solidFill>
                      <a:srgbClr val="CBEAE7"/>
                    </a:solidFill>
                  </a:tcPr>
                </a:tc>
                <a:extLst>
                  <a:ext uri="{0D108BD9-81ED-4DB2-BD59-A6C34878D82A}">
                    <a16:rowId xmlns:a16="http://schemas.microsoft.com/office/drawing/2014/main" val="362768916"/>
                  </a:ext>
                </a:extLst>
              </a:tr>
              <a:tr h="358974">
                <a:tc>
                  <a:txBody>
                    <a:bodyPr/>
                    <a:lstStyle/>
                    <a:p>
                      <a:pPr algn="ctr">
                        <a:defRPr sz="900">
                          <a:latin typeface="Nexa Book (Body)"/>
                        </a:defRPr>
                      </a:pPr>
                      <a:r>
                        <a:rPr sz="900">
                          <a:latin typeface="Nexa Book (Body)"/>
                        </a:rPr>
                        <a:t>7</a:t>
                      </a:r>
                    </a:p>
                  </a:txBody>
                  <a:tcPr marL="36000" marR="36000" marT="4763" marB="0" anchor="ctr">
                    <a:solidFill>
                      <a:srgbClr val="F2F2F2"/>
                    </a:solidFill>
                  </a:tcPr>
                </a:tc>
                <a:tc>
                  <a:txBody>
                    <a:bodyPr/>
                    <a:lstStyle/>
                    <a:p>
                      <a:pPr algn="l">
                        <a:defRPr sz="900">
                          <a:latin typeface="Nexa Book (Body)"/>
                        </a:defRPr>
                      </a:pPr>
                      <a:r>
                        <a:rPr sz="900">
                          <a:latin typeface="Nexa Book (Body)"/>
                        </a:rPr>
                        <a:t>Casa Azzurra/Intermarche</a:t>
                      </a:r>
                    </a:p>
                  </a:txBody>
                  <a:tcPr marL="36000" marR="36000" marT="4763" marB="0" anchor="ctr">
                    <a:solidFill>
                      <a:srgbClr val="F2F2F2"/>
                    </a:solidFill>
                  </a:tcPr>
                </a:tc>
                <a:extLst>
                  <a:ext uri="{0D108BD9-81ED-4DB2-BD59-A6C34878D82A}">
                    <a16:rowId xmlns:a16="http://schemas.microsoft.com/office/drawing/2014/main" val="1139766948"/>
                  </a:ext>
                </a:extLst>
              </a:tr>
              <a:tr h="358974">
                <a:tc>
                  <a:txBody>
                    <a:bodyPr/>
                    <a:lstStyle/>
                    <a:p>
                      <a:pPr algn="ctr">
                        <a:defRPr sz="900">
                          <a:latin typeface="Nexa Book (Body)"/>
                        </a:defRPr>
                      </a:pPr>
                      <a:r>
                        <a:rPr sz="900">
                          <a:latin typeface="Nexa Book (Body)"/>
                        </a:rPr>
                        <a:t>8</a:t>
                      </a:r>
                    </a:p>
                  </a:txBody>
                  <a:tcPr marL="36000" marR="36000" marT="4763" marB="0" anchor="ctr">
                    <a:solidFill>
                      <a:srgbClr val="CBEAE7"/>
                    </a:solidFill>
                  </a:tcPr>
                </a:tc>
                <a:tc>
                  <a:txBody>
                    <a:bodyPr/>
                    <a:lstStyle/>
                    <a:p>
                      <a:pPr algn="l">
                        <a:defRPr sz="900">
                          <a:latin typeface="Nexa Book (Body)"/>
                        </a:defRPr>
                      </a:pPr>
                      <a:r>
                        <a:rPr sz="900">
                          <a:latin typeface="Nexa Book (Body)"/>
                        </a:rPr>
                        <a:t>All Others/Intermarche</a:t>
                      </a:r>
                    </a:p>
                  </a:txBody>
                  <a:tcPr marL="36000" marR="36000" marT="4763" marB="0" anchor="ctr">
                    <a:solidFill>
                      <a:srgbClr val="CBEAE7"/>
                    </a:solidFill>
                  </a:tcPr>
                </a:tc>
                <a:extLst>
                  <a:ext uri="{0D108BD9-81ED-4DB2-BD59-A6C34878D82A}">
                    <a16:rowId xmlns:a16="http://schemas.microsoft.com/office/drawing/2014/main" val="1687090376"/>
                  </a:ext>
                </a:extLst>
              </a:tr>
              <a:tr h="358974">
                <a:tc>
                  <a:txBody>
                    <a:bodyPr/>
                    <a:lstStyle/>
                    <a:p>
                      <a:pPr algn="ctr">
                        <a:defRPr sz="900">
                          <a:latin typeface="Nexa Book (Body)"/>
                        </a:defRPr>
                      </a:pPr>
                      <a:r>
                        <a:rPr sz="900">
                          <a:latin typeface="Nexa Book (Body)"/>
                        </a:rPr>
                        <a:t>9</a:t>
                      </a:r>
                    </a:p>
                  </a:txBody>
                  <a:tcPr marL="36000" marR="36000" marT="4763" marB="0" anchor="ctr">
                    <a:solidFill>
                      <a:srgbClr val="FFBFBF"/>
                    </a:solidFill>
                  </a:tcPr>
                </a:tc>
                <a:tc>
                  <a:txBody>
                    <a:bodyPr/>
                    <a:lstStyle/>
                    <a:p>
                      <a:pPr algn="l">
                        <a:defRPr sz="900">
                          <a:latin typeface="Nexa Book (Body)"/>
                        </a:defRPr>
                      </a:pPr>
                      <a:r>
                        <a:rPr sz="900">
                          <a:latin typeface="Nexa Book (Body)"/>
                        </a:rPr>
                        <a:t>Boursin/Carrefour</a:t>
                      </a:r>
                    </a:p>
                  </a:txBody>
                  <a:tcPr marL="36000" marR="36000" marT="4763" marB="0" anchor="ctr">
                    <a:solidFill>
                      <a:srgbClr val="FFBFBF"/>
                    </a:solidFill>
                  </a:tcPr>
                </a:tc>
                <a:extLst>
                  <a:ext uri="{0D108BD9-81ED-4DB2-BD59-A6C34878D82A}">
                    <a16:rowId xmlns:a16="http://schemas.microsoft.com/office/drawing/2014/main" val="1182192680"/>
                  </a:ext>
                </a:extLst>
              </a:tr>
              <a:tr h="358974">
                <a:tc>
                  <a:txBody>
                    <a:bodyPr/>
                    <a:lstStyle/>
                    <a:p>
                      <a:pPr algn="ctr">
                        <a:defRPr sz="900">
                          <a:latin typeface="Nexa Book (Body)"/>
                        </a:defRPr>
                      </a:pPr>
                      <a:r>
                        <a:rPr sz="900">
                          <a:latin typeface="Nexa Book (Body)"/>
                        </a:rPr>
                        <a:t>10</a:t>
                      </a:r>
                    </a:p>
                  </a:txBody>
                  <a:tcPr marL="36000" marR="36000" marT="4763" marB="0" anchor="ctr">
                    <a:solidFill>
                      <a:srgbClr val="FFBFBF"/>
                    </a:solidFill>
                  </a:tcPr>
                </a:tc>
                <a:tc>
                  <a:txBody>
                    <a:bodyPr/>
                    <a:lstStyle/>
                    <a:p>
                      <a:pPr algn="l">
                        <a:defRPr sz="900">
                          <a:latin typeface="Nexa Book (Body)"/>
                        </a:defRPr>
                      </a:pPr>
                      <a:r>
                        <a:rPr sz="900">
                          <a:latin typeface="Nexa Book (Body)"/>
                        </a:rPr>
                        <a:t>Boursin/Intermarche</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9/25/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3278871674"/>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Total Fromage | RETAILER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239316">
                <a:tc>
                  <a:txBody>
                    <a:bodyPr/>
                    <a:lstStyle/>
                    <a:p>
                      <a:pPr algn="ctr">
                        <a:defRPr sz="900">
                          <a:latin typeface="Nexa Book (Body)"/>
                        </a:defRPr>
                      </a:pPr>
                      <a:r>
                        <a:rPr sz="900">
                          <a:latin typeface="Nexa Book (Body)"/>
                        </a:rPr>
                        <a:t>1</a:t>
                      </a:r>
                    </a:p>
                  </a:txBody>
                  <a:tcPr marL="36000" marR="36000" marT="4763" marB="0" anchor="ctr">
                    <a:solidFill>
                      <a:srgbClr val="CBEAE7"/>
                    </a:solidFill>
                  </a:tcPr>
                </a:tc>
                <a:tc>
                  <a:txBody>
                    <a:bodyPr/>
                    <a:lstStyle/>
                    <a:p>
                      <a:pPr algn="l">
                        <a:defRPr sz="900">
                          <a:latin typeface="Nexa Book (Body)"/>
                        </a:defRPr>
                      </a:pPr>
                      <a:r>
                        <a:rPr sz="900">
                          <a:latin typeface="Nexa Book (Body)"/>
                        </a:rPr>
                        <a:t>Private Label/Carrefour/Soft Cheese/Salade</a:t>
                      </a:r>
                    </a:p>
                  </a:txBody>
                  <a:tcPr marL="36000" marR="36000" marT="4763" marB="0" anchor="ctr">
                    <a:solidFill>
                      <a:srgbClr val="CBEAE7"/>
                    </a:solidFill>
                  </a:tcPr>
                </a:tc>
                <a:extLst>
                  <a:ext uri="{0D108BD9-81ED-4DB2-BD59-A6C34878D82A}">
                    <a16:rowId xmlns:a16="http://schemas.microsoft.com/office/drawing/2014/main" val="98934626"/>
                  </a:ext>
                </a:extLst>
              </a:tr>
              <a:tr h="239316">
                <a:tc>
                  <a:txBody>
                    <a:bodyPr/>
                    <a:lstStyle/>
                    <a:p>
                      <a:pPr algn="ctr">
                        <a:defRPr sz="900">
                          <a:latin typeface="Nexa Book (Body)"/>
                        </a:defRPr>
                      </a:pPr>
                      <a:r>
                        <a:rPr sz="900">
                          <a:latin typeface="Nexa Book (Body)"/>
                        </a:rPr>
                        <a:t>2</a:t>
                      </a:r>
                    </a:p>
                  </a:txBody>
                  <a:tcPr marL="36000" marR="36000" marT="4763" marB="0" anchor="ctr">
                    <a:solidFill>
                      <a:srgbClr val="CBEAE7"/>
                    </a:solidFill>
                  </a:tcPr>
                </a:tc>
                <a:tc>
                  <a:txBody>
                    <a:bodyPr/>
                    <a:lstStyle/>
                    <a:p>
                      <a:pPr algn="l">
                        <a:defRPr sz="900">
                          <a:latin typeface="Nexa Book (Body)"/>
                        </a:defRPr>
                      </a:pPr>
                      <a:r>
                        <a:rPr sz="900">
                          <a:latin typeface="Nexa Book (Body)"/>
                        </a:rPr>
                        <a:t>Private Label/Intermarche/Soft Cheese/Salade</a:t>
                      </a:r>
                    </a:p>
                  </a:txBody>
                  <a:tcPr marL="36000" marR="36000" marT="4763" marB="0" anchor="ctr">
                    <a:solidFill>
                      <a:srgbClr val="CBEAE7"/>
                    </a:solidFill>
                  </a:tcPr>
                </a:tc>
                <a:extLst>
                  <a:ext uri="{0D108BD9-81ED-4DB2-BD59-A6C34878D82A}">
                    <a16:rowId xmlns:a16="http://schemas.microsoft.com/office/drawing/2014/main" val="3049926520"/>
                  </a:ext>
                </a:extLst>
              </a:tr>
              <a:tr h="239316">
                <a:tc>
                  <a:txBody>
                    <a:bodyPr/>
                    <a:lstStyle/>
                    <a:p>
                      <a:pPr algn="ctr">
                        <a:defRPr sz="900">
                          <a:latin typeface="Nexa Book (Body)"/>
                        </a:defRPr>
                      </a:pPr>
                      <a:r>
                        <a:rPr sz="900">
                          <a:latin typeface="Nexa Book (Body)"/>
                        </a:rPr>
                        <a:t>3</a:t>
                      </a:r>
                    </a:p>
                  </a:txBody>
                  <a:tcPr marL="36000" marR="36000" marT="4763" marB="0" anchor="ctr">
                    <a:solidFill>
                      <a:srgbClr val="FFBFBF"/>
                    </a:solidFill>
                  </a:tcPr>
                </a:tc>
                <a:tc>
                  <a:txBody>
                    <a:bodyPr/>
                    <a:lstStyle/>
                    <a:p>
                      <a:pPr algn="l">
                        <a:defRPr sz="900">
                          <a:latin typeface="Nexa Book (Body)"/>
                        </a:defRPr>
                      </a:pPr>
                      <a:r>
                        <a:rPr sz="900">
                          <a:latin typeface="Nexa Book (Body)"/>
                        </a:rPr>
                        <a:t>La Vache Qui Rit/Carrefour/Soft Cheese/Enfant</a:t>
                      </a:r>
                    </a:p>
                  </a:txBody>
                  <a:tcPr marL="36000" marR="36000" marT="4763" marB="0" anchor="ctr">
                    <a:solidFill>
                      <a:srgbClr val="FFBFBF"/>
                    </a:solidFill>
                  </a:tcPr>
                </a:tc>
                <a:extLst>
                  <a:ext uri="{0D108BD9-81ED-4DB2-BD59-A6C34878D82A}">
                    <a16:rowId xmlns:a16="http://schemas.microsoft.com/office/drawing/2014/main" val="3518559538"/>
                  </a:ext>
                </a:extLst>
              </a:tr>
              <a:tr h="239316">
                <a:tc>
                  <a:txBody>
                    <a:bodyPr/>
                    <a:lstStyle/>
                    <a:p>
                      <a:pPr algn="ctr">
                        <a:defRPr sz="900">
                          <a:latin typeface="Nexa Book (Body)"/>
                        </a:defRPr>
                      </a:pPr>
                      <a:r>
                        <a:rPr sz="900">
                          <a:latin typeface="Nexa Book (Body)"/>
                        </a:rPr>
                        <a:t>4</a:t>
                      </a:r>
                    </a:p>
                  </a:txBody>
                  <a:tcPr marL="36000" marR="36000" marT="4763" marB="0" anchor="ctr">
                    <a:solidFill>
                      <a:srgbClr val="CBEAE7"/>
                    </a:solidFill>
                  </a:tcPr>
                </a:tc>
                <a:tc>
                  <a:txBody>
                    <a:bodyPr/>
                    <a:lstStyle/>
                    <a:p>
                      <a:pPr algn="l">
                        <a:defRPr sz="900">
                          <a:latin typeface="Nexa Book (Body)"/>
                        </a:defRPr>
                      </a:pPr>
                      <a:r>
                        <a:rPr sz="900">
                          <a:latin typeface="Nexa Book (Body)"/>
                        </a:rPr>
                        <a:t>La Vache Qui Rit/Intermarche/Soft Cheese/Enfant</a:t>
                      </a:r>
                    </a:p>
                  </a:txBody>
                  <a:tcPr marL="36000" marR="36000" marT="4763" marB="0" anchor="ctr">
                    <a:solidFill>
                      <a:srgbClr val="CBEAE7"/>
                    </a:solidFill>
                  </a:tcPr>
                </a:tc>
                <a:extLst>
                  <a:ext uri="{0D108BD9-81ED-4DB2-BD59-A6C34878D82A}">
                    <a16:rowId xmlns:a16="http://schemas.microsoft.com/office/drawing/2014/main" val="3886752891"/>
                  </a:ext>
                </a:extLst>
              </a:tr>
              <a:tr h="239316">
                <a:tc>
                  <a:txBody>
                    <a:bodyPr/>
                    <a:lstStyle/>
                    <a:p>
                      <a:pPr algn="ctr">
                        <a:defRPr sz="900">
                          <a:latin typeface="Nexa Book (Body)"/>
                        </a:defRPr>
                      </a:pPr>
                      <a:r>
                        <a:rPr sz="900">
                          <a:latin typeface="Nexa Book (Body)"/>
                        </a:rPr>
                        <a:t>5</a:t>
                      </a:r>
                    </a:p>
                  </a:txBody>
                  <a:tcPr marL="36000" marR="36000" marT="4763" marB="0" anchor="ctr">
                    <a:solidFill>
                      <a:srgbClr val="F2F2F2"/>
                    </a:solidFill>
                  </a:tcPr>
                </a:tc>
                <a:tc>
                  <a:txBody>
                    <a:bodyPr/>
                    <a:lstStyle/>
                    <a:p>
                      <a:pPr algn="l">
                        <a:defRPr sz="900">
                          <a:latin typeface="Nexa Book (Body)"/>
                        </a:defRPr>
                      </a:pPr>
                      <a:r>
                        <a:rPr sz="900">
                          <a:latin typeface="Nexa Book (Body)"/>
                        </a:rPr>
                        <a:t>Kiri/Carrefour/Soft Cheese/Enfant</a:t>
                      </a:r>
                    </a:p>
                  </a:txBody>
                  <a:tcPr marL="36000" marR="36000" marT="4763" marB="0" anchor="ctr">
                    <a:solidFill>
                      <a:srgbClr val="F2F2F2"/>
                    </a:solidFill>
                  </a:tcPr>
                </a:tc>
                <a:extLst>
                  <a:ext uri="{0D108BD9-81ED-4DB2-BD59-A6C34878D82A}">
                    <a16:rowId xmlns:a16="http://schemas.microsoft.com/office/drawing/2014/main" val="3477306869"/>
                  </a:ext>
                </a:extLst>
              </a:tr>
              <a:tr h="239316">
                <a:tc>
                  <a:txBody>
                    <a:bodyPr/>
                    <a:lstStyle/>
                    <a:p>
                      <a:pPr algn="ctr">
                        <a:defRPr sz="900">
                          <a:latin typeface="Nexa Book (Body)"/>
                        </a:defRPr>
                      </a:pPr>
                      <a:r>
                        <a:rPr sz="900">
                          <a:latin typeface="Nexa Book (Body)"/>
                        </a:rPr>
                        <a:t>6</a:t>
                      </a:r>
                    </a:p>
                  </a:txBody>
                  <a:tcPr marL="36000" marR="36000" marT="4763" marB="0" anchor="ctr">
                    <a:solidFill>
                      <a:srgbClr val="FFBFBF"/>
                    </a:solidFill>
                  </a:tcPr>
                </a:tc>
                <a:tc>
                  <a:txBody>
                    <a:bodyPr/>
                    <a:lstStyle/>
                    <a:p>
                      <a:pPr algn="l">
                        <a:defRPr sz="900">
                          <a:latin typeface="Nexa Book (Body)"/>
                        </a:defRPr>
                      </a:pPr>
                      <a:r>
                        <a:rPr sz="900">
                          <a:latin typeface="Nexa Book (Body)"/>
                        </a:rPr>
                        <a:t>Private Label/Carrefour/Soft Cheese/Frais A Tartiner</a:t>
                      </a:r>
                    </a:p>
                  </a:txBody>
                  <a:tcPr marL="36000" marR="36000" marT="4763" marB="0" anchor="ctr">
                    <a:solidFill>
                      <a:srgbClr val="FFBFBF"/>
                    </a:solidFill>
                  </a:tcPr>
                </a:tc>
                <a:extLst>
                  <a:ext uri="{0D108BD9-81ED-4DB2-BD59-A6C34878D82A}">
                    <a16:rowId xmlns:a16="http://schemas.microsoft.com/office/drawing/2014/main" val="264026324"/>
                  </a:ext>
                </a:extLst>
              </a:tr>
              <a:tr h="239316">
                <a:tc>
                  <a:txBody>
                    <a:bodyPr/>
                    <a:lstStyle/>
                    <a:p>
                      <a:pPr algn="ctr">
                        <a:defRPr sz="900">
                          <a:latin typeface="Nexa Book (Body)"/>
                        </a:defRPr>
                      </a:pPr>
                      <a:r>
                        <a:rPr sz="900">
                          <a:latin typeface="Nexa Book (Body)"/>
                        </a:rPr>
                        <a:t>7</a:t>
                      </a:r>
                    </a:p>
                  </a:txBody>
                  <a:tcPr marL="36000" marR="36000" marT="4763" marB="0" anchor="ctr">
                    <a:solidFill>
                      <a:srgbClr val="CBEAE7"/>
                    </a:solidFill>
                  </a:tcPr>
                </a:tc>
                <a:tc>
                  <a:txBody>
                    <a:bodyPr/>
                    <a:lstStyle/>
                    <a:p>
                      <a:pPr algn="l">
                        <a:defRPr sz="900">
                          <a:latin typeface="Nexa Book (Body)"/>
                        </a:defRPr>
                      </a:pPr>
                      <a:r>
                        <a:rPr sz="900">
                          <a:latin typeface="Nexa Book (Body)"/>
                        </a:rPr>
                        <a:t>Kiri/Intermarche/Soft Cheese/Enfant</a:t>
                      </a:r>
                    </a:p>
                  </a:txBody>
                  <a:tcPr marL="36000" marR="36000" marT="4763" marB="0" anchor="ctr">
                    <a:solidFill>
                      <a:srgbClr val="CBEAE7"/>
                    </a:solidFill>
                  </a:tcPr>
                </a:tc>
                <a:extLst>
                  <a:ext uri="{0D108BD9-81ED-4DB2-BD59-A6C34878D82A}">
                    <a16:rowId xmlns:a16="http://schemas.microsoft.com/office/drawing/2014/main" val="613793393"/>
                  </a:ext>
                </a:extLst>
              </a:tr>
              <a:tr h="239316">
                <a:tc>
                  <a:txBody>
                    <a:bodyPr/>
                    <a:lstStyle/>
                    <a:p>
                      <a:pPr algn="ctr">
                        <a:defRPr sz="900">
                          <a:latin typeface="Nexa Book (Body)"/>
                        </a:defRPr>
                      </a:pPr>
                      <a:r>
                        <a:rPr sz="900">
                          <a:latin typeface="Nexa Book (Body)"/>
                        </a:rPr>
                        <a:t>8</a:t>
                      </a:r>
                    </a:p>
                  </a:txBody>
                  <a:tcPr marL="36000" marR="36000" marT="4763" marB="0" anchor="ctr">
                    <a:solidFill>
                      <a:srgbClr val="FFBFBF"/>
                    </a:solidFill>
                  </a:tcPr>
                </a:tc>
                <a:tc>
                  <a:txBody>
                    <a:bodyPr/>
                    <a:lstStyle/>
                    <a:p>
                      <a:pPr algn="l">
                        <a:defRPr sz="900">
                          <a:latin typeface="Nexa Book (Body)"/>
                        </a:defRPr>
                      </a:pPr>
                      <a:r>
                        <a:rPr sz="900">
                          <a:latin typeface="Nexa Book (Body)"/>
                        </a:rPr>
                        <a:t>Private Label/Intermarche/Soft Cheese/Frais A Tartiner</a:t>
                      </a:r>
                    </a:p>
                  </a:txBody>
                  <a:tcPr marL="36000" marR="36000" marT="4763" marB="0" anchor="ctr">
                    <a:solidFill>
                      <a:srgbClr val="FFBFBF"/>
                    </a:solidFill>
                  </a:tcPr>
                </a:tc>
                <a:extLst>
                  <a:ext uri="{0D108BD9-81ED-4DB2-BD59-A6C34878D82A}">
                    <a16:rowId xmlns:a16="http://schemas.microsoft.com/office/drawing/2014/main" val="4246246309"/>
                  </a:ext>
                </a:extLst>
              </a:tr>
              <a:tr h="239316">
                <a:tc>
                  <a:txBody>
                    <a:bodyPr/>
                    <a:lstStyle/>
                    <a:p>
                      <a:pPr algn="ctr">
                        <a:defRPr sz="900">
                          <a:latin typeface="Nexa Book (Body)"/>
                        </a:defRPr>
                      </a:pPr>
                      <a:r>
                        <a:rPr sz="900">
                          <a:latin typeface="Nexa Book (Body)"/>
                        </a:rPr>
                        <a:t>9</a:t>
                      </a:r>
                    </a:p>
                  </a:txBody>
                  <a:tcPr marL="36000" marR="36000" marT="4763" marB="0" anchor="ctr">
                    <a:solidFill>
                      <a:srgbClr val="F2F2F2"/>
                    </a:solidFill>
                  </a:tcPr>
                </a:tc>
                <a:tc>
                  <a:txBody>
                    <a:bodyPr/>
                    <a:lstStyle/>
                    <a:p>
                      <a:pPr algn="l">
                        <a:defRPr sz="900">
                          <a:latin typeface="Nexa Book (Body)"/>
                        </a:defRPr>
                      </a:pPr>
                      <a:r>
                        <a:rPr sz="900">
                          <a:latin typeface="Nexa Book (Body)"/>
                        </a:rPr>
                        <a:t>Boursin/Intermarche/Soft Cheese/Frais A Tartiner</a:t>
                      </a:r>
                    </a:p>
                  </a:txBody>
                  <a:tcPr marL="36000" marR="36000" marT="4763" marB="0" anchor="ctr">
                    <a:solidFill>
                      <a:srgbClr val="F2F2F2"/>
                    </a:solidFill>
                  </a:tcPr>
                </a:tc>
                <a:extLst>
                  <a:ext uri="{0D108BD9-81ED-4DB2-BD59-A6C34878D82A}">
                    <a16:rowId xmlns:a16="http://schemas.microsoft.com/office/drawing/2014/main" val="418503086"/>
                  </a:ext>
                </a:extLst>
              </a:tr>
              <a:tr h="239316">
                <a:tc>
                  <a:txBody>
                    <a:bodyPr/>
                    <a:lstStyle/>
                    <a:p>
                      <a:pPr algn="ctr">
                        <a:defRPr sz="900">
                          <a:latin typeface="Nexa Book (Body)"/>
                        </a:defRPr>
                      </a:pPr>
                      <a:r>
                        <a:rPr sz="900">
                          <a:latin typeface="Nexa Book (Body)"/>
                        </a:rPr>
                        <a:t>10</a:t>
                      </a:r>
                    </a:p>
                  </a:txBody>
                  <a:tcPr marL="36000" marR="36000" marT="4763" marB="0" anchor="ctr">
                    <a:solidFill>
                      <a:srgbClr val="CBEAE7"/>
                    </a:solidFill>
                  </a:tcPr>
                </a:tc>
                <a:tc>
                  <a:txBody>
                    <a:bodyPr/>
                    <a:lstStyle/>
                    <a:p>
                      <a:pPr algn="l">
                        <a:defRPr sz="900">
                          <a:latin typeface="Nexa Book (Body)"/>
                        </a:defRPr>
                      </a:pPr>
                      <a:r>
                        <a:rPr sz="900">
                          <a:latin typeface="Nexa Book (Body)"/>
                        </a:rPr>
                        <a:t>Boursin/Carrefour/Soft Cheese/Frais A Tartiner</a:t>
                      </a:r>
                    </a:p>
                  </a:txBody>
                  <a:tcPr marL="36000" marR="36000" marT="4763" marB="0" anchor="ctr">
                    <a:solidFill>
                      <a:srgbClr val="CBEAE7"/>
                    </a:solidFill>
                  </a:tcPr>
                </a:tc>
                <a:extLst>
                  <a:ext uri="{0D108BD9-81ED-4DB2-BD59-A6C34878D82A}">
                    <a16:rowId xmlns:a16="http://schemas.microsoft.com/office/drawing/2014/main" val="381854689"/>
                  </a:ext>
                </a:extLst>
              </a:tr>
              <a:tr h="239316">
                <a:tc>
                  <a:txBody>
                    <a:bodyPr/>
                    <a:lstStyle/>
                    <a:p>
                      <a:pPr algn="ctr">
                        <a:defRPr sz="900">
                          <a:latin typeface="Nexa Book (Body)"/>
                        </a:defRPr>
                      </a:pPr>
                      <a:r>
                        <a:rPr sz="900">
                          <a:latin typeface="Nexa Book (Body)"/>
                        </a:rPr>
                        <a:t>11</a:t>
                      </a:r>
                    </a:p>
                  </a:txBody>
                  <a:tcPr marL="36000" marR="36000" marT="4763" marB="0" anchor="ctr">
                    <a:solidFill>
                      <a:srgbClr val="FFBFBF"/>
                    </a:solidFill>
                  </a:tcPr>
                </a:tc>
                <a:tc>
                  <a:txBody>
                    <a:bodyPr/>
                    <a:lstStyle/>
                    <a:p>
                      <a:pPr algn="l">
                        <a:defRPr sz="900">
                          <a:latin typeface="Nexa Book (Body)"/>
                        </a:defRPr>
                      </a:pPr>
                      <a:r>
                        <a:rPr sz="900">
                          <a:latin typeface="Nexa Book (Body)"/>
                        </a:rPr>
                        <a:t>Boursin/Carrefour/Soft Cheese/Salade</a:t>
                      </a:r>
                    </a:p>
                  </a:txBody>
                  <a:tcPr marL="36000" marR="36000" marT="4763" marB="0" anchor="ctr">
                    <a:solidFill>
                      <a:srgbClr val="FFBFBF"/>
                    </a:solidFill>
                  </a:tcPr>
                </a:tc>
                <a:extLst>
                  <a:ext uri="{0D108BD9-81ED-4DB2-BD59-A6C34878D82A}">
                    <a16:rowId xmlns:a16="http://schemas.microsoft.com/office/drawing/2014/main" val="362768916"/>
                  </a:ext>
                </a:extLst>
              </a:tr>
              <a:tr h="239316">
                <a:tc>
                  <a:txBody>
                    <a:bodyPr/>
                    <a:lstStyle/>
                    <a:p>
                      <a:pPr algn="ctr">
                        <a:defRPr sz="900">
                          <a:latin typeface="Nexa Book (Body)"/>
                        </a:defRPr>
                      </a:pPr>
                      <a:r>
                        <a:rPr sz="900">
                          <a:latin typeface="Nexa Book (Body)"/>
                        </a:rPr>
                        <a:t>12</a:t>
                      </a:r>
                    </a:p>
                  </a:txBody>
                  <a:tcPr marL="36000" marR="36000" marT="4763" marB="0" anchor="ctr">
                    <a:solidFill>
                      <a:srgbClr val="FFBFBF"/>
                    </a:solidFill>
                  </a:tcPr>
                </a:tc>
                <a:tc>
                  <a:txBody>
                    <a:bodyPr/>
                    <a:lstStyle/>
                    <a:p>
                      <a:pPr algn="l">
                        <a:defRPr sz="900">
                          <a:latin typeface="Nexa Book (Body)"/>
                        </a:defRPr>
                      </a:pPr>
                      <a:r>
                        <a:rPr sz="900">
                          <a:latin typeface="Nexa Book (Body)"/>
                        </a:rPr>
                        <a:t>Boursin/Intermarche/Soft Cheese/Salade</a:t>
                      </a:r>
                    </a:p>
                  </a:txBody>
                  <a:tcPr marL="36000" marR="36000" marT="4763" marB="0" anchor="ctr">
                    <a:solidFill>
                      <a:srgbClr val="FFBFBF"/>
                    </a:solidFill>
                  </a:tcPr>
                </a:tc>
                <a:extLst>
                  <a:ext uri="{0D108BD9-81ED-4DB2-BD59-A6C34878D82A}">
                    <a16:rowId xmlns:a16="http://schemas.microsoft.com/office/drawing/2014/main" val="1139766948"/>
                  </a:ext>
                </a:extLst>
              </a:tr>
              <a:tr h="239316">
                <a:tc>
                  <a:txBody>
                    <a:bodyPr/>
                    <a:lstStyle/>
                    <a:p>
                      <a:pPr algn="ctr">
                        <a:defRPr sz="900">
                          <a:latin typeface="Nexa Book (Body)"/>
                        </a:defRPr>
                      </a:pPr>
                      <a:r>
                        <a:rPr sz="900">
                          <a:latin typeface="Nexa Book (Body)"/>
                        </a:rPr>
                        <a:t>13</a:t>
                      </a:r>
                    </a:p>
                  </a:txBody>
                  <a:tcPr marL="36000" marR="36000" marT="4763" marB="0" anchor="ctr">
                    <a:solidFill>
                      <a:srgbClr val="FFBFBF"/>
                    </a:solidFill>
                  </a:tcPr>
                </a:tc>
                <a:tc>
                  <a:txBody>
                    <a:bodyPr/>
                    <a:lstStyle/>
                    <a:p>
                      <a:pPr algn="l">
                        <a:defRPr sz="900">
                          <a:latin typeface="Nexa Book (Body)"/>
                        </a:defRPr>
                      </a:pPr>
                      <a:r>
                        <a:rPr sz="900">
                          <a:latin typeface="Nexa Book (Body)"/>
                        </a:rPr>
                        <a:t>Kiri/Carrefour/Soft Cheese/Frais A Tartiner</a:t>
                      </a:r>
                    </a:p>
                  </a:txBody>
                  <a:tcPr marL="36000" marR="36000" marT="4763" marB="0" anchor="ctr">
                    <a:solidFill>
                      <a:srgbClr val="FFBFBF"/>
                    </a:solidFill>
                  </a:tcPr>
                </a:tc>
                <a:extLst>
                  <a:ext uri="{0D108BD9-81ED-4DB2-BD59-A6C34878D82A}">
                    <a16:rowId xmlns:a16="http://schemas.microsoft.com/office/drawing/2014/main" val="1687090376"/>
                  </a:ext>
                </a:extLst>
              </a:tr>
              <a:tr h="239316">
                <a:tc>
                  <a:txBody>
                    <a:bodyPr/>
                    <a:lstStyle/>
                    <a:p>
                      <a:pPr algn="ctr">
                        <a:defRPr sz="900">
                          <a:latin typeface="Nexa Book (Body)"/>
                        </a:defRPr>
                      </a:pPr>
                      <a:r>
                        <a:rPr sz="900">
                          <a:latin typeface="Nexa Book (Body)"/>
                        </a:rPr>
                        <a:t>14</a:t>
                      </a:r>
                    </a:p>
                  </a:txBody>
                  <a:tcPr marL="36000" marR="36000" marT="4763" marB="0" anchor="ctr">
                    <a:solidFill>
                      <a:srgbClr val="F2F2F2"/>
                    </a:solidFill>
                  </a:tcPr>
                </a:tc>
                <a:tc>
                  <a:txBody>
                    <a:bodyPr/>
                    <a:lstStyle/>
                    <a:p>
                      <a:pPr algn="l">
                        <a:defRPr sz="900">
                          <a:latin typeface="Nexa Book (Body)"/>
                        </a:defRPr>
                      </a:pPr>
                      <a:r>
                        <a:rPr sz="900">
                          <a:latin typeface="Nexa Book (Body)"/>
                        </a:rPr>
                        <a:t>Kiri/Intermarche/Soft Cheese/Frais A Tartiner</a:t>
                      </a:r>
                    </a:p>
                  </a:txBody>
                  <a:tcPr marL="36000" marR="36000" marT="4763" marB="0" anchor="ctr">
                    <a:solidFill>
                      <a:srgbClr val="F2F2F2"/>
                    </a:solidFill>
                  </a:tcPr>
                </a:tc>
                <a:extLst>
                  <a:ext uri="{0D108BD9-81ED-4DB2-BD59-A6C34878D82A}">
                    <a16:rowId xmlns:a16="http://schemas.microsoft.com/office/drawing/2014/main" val="1182192680"/>
                  </a:ext>
                </a:extLst>
              </a:tr>
              <a:tr h="239316">
                <a:tc>
                  <a:txBody>
                    <a:bodyPr/>
                    <a:lstStyle/>
                    <a:p>
                      <a:pPr algn="ctr">
                        <a:defRPr sz="900">
                          <a:latin typeface="Nexa Book (Body)"/>
                        </a:defRPr>
                      </a:pPr>
                      <a:r>
                        <a:rPr sz="900">
                          <a:latin typeface="Nexa Book (Body)"/>
                        </a:rPr>
                        <a:t>15</a:t>
                      </a:r>
                    </a:p>
                  </a:txBody>
                  <a:tcPr marL="36000" marR="36000" marT="4763" marB="0" anchor="ctr">
                    <a:solidFill>
                      <a:srgbClr val="CBEAE7"/>
                    </a:solidFill>
                  </a:tcPr>
                </a:tc>
                <a:tc>
                  <a:txBody>
                    <a:bodyPr/>
                    <a:lstStyle/>
                    <a:p>
                      <a:pPr algn="l">
                        <a:defRPr sz="900">
                          <a:latin typeface="Nexa Book (Body)"/>
                        </a:defRPr>
                      </a:pPr>
                      <a:r>
                        <a:rPr sz="900">
                          <a:latin typeface="Nexa Book (Body)"/>
                        </a:rPr>
                        <a:t>La Vache Qui Rit/Carrefour/Soft Cheese/Frais A Tartiner</a:t>
                      </a:r>
                    </a:p>
                  </a:txBody>
                  <a:tcPr marL="36000" marR="36000" marT="4763" marB="0" anchor="ctr">
                    <a:solidFill>
                      <a:srgbClr val="CBEAE7"/>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9/25/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399607120"/>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Total Fromage | NATIONAL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326340">
                <a:tc>
                  <a:txBody>
                    <a:bodyPr/>
                    <a:lstStyle/>
                    <a:p>
                      <a:pPr algn="ctr">
                        <a:defRPr sz="900">
                          <a:latin typeface="Nexa Book (Body)"/>
                        </a:defRPr>
                      </a:pPr>
                      <a:r>
                        <a:rPr sz="900">
                          <a:latin typeface="Nexa Book (Body)"/>
                        </a:rPr>
                        <a:t>1</a:t>
                      </a:r>
                    </a:p>
                  </a:txBody>
                  <a:tcPr marL="36000" marR="36000" marT="4763" marB="0" anchor="ctr">
                    <a:solidFill>
                      <a:srgbClr val="CBEAE7"/>
                    </a:solidFill>
                  </a:tcPr>
                </a:tc>
                <a:tc>
                  <a:txBody>
                    <a:bodyPr/>
                    <a:lstStyle/>
                    <a:p>
                      <a:pPr algn="l">
                        <a:defRPr sz="900">
                          <a:latin typeface="Nexa Book (Body)"/>
                        </a:defRPr>
                      </a:pPr>
                      <a:r>
                        <a:rPr sz="900">
                          <a:latin typeface="Nexa Book (Body)"/>
                        </a:rPr>
                        <a:t>Private Label/Soft Cheese</a:t>
                      </a:r>
                    </a:p>
                  </a:txBody>
                  <a:tcPr marL="36000" marR="36000" marT="4763" marB="0" anchor="ctr">
                    <a:solidFill>
                      <a:srgbClr val="CBEAE7"/>
                    </a:solidFill>
                  </a:tcPr>
                </a:tc>
                <a:extLst>
                  <a:ext uri="{0D108BD9-81ED-4DB2-BD59-A6C34878D82A}">
                    <a16:rowId xmlns:a16="http://schemas.microsoft.com/office/drawing/2014/main" val="3477306869"/>
                  </a:ext>
                </a:extLst>
              </a:tr>
              <a:tr h="326340">
                <a:tc>
                  <a:txBody>
                    <a:bodyPr/>
                    <a:lstStyle/>
                    <a:p>
                      <a:pPr algn="ctr">
                        <a:defRPr sz="900">
                          <a:latin typeface="Nexa Book (Body)"/>
                        </a:defRPr>
                      </a:pPr>
                      <a:r>
                        <a:rPr sz="900">
                          <a:latin typeface="Nexa Book (Body)"/>
                        </a:rPr>
                        <a:t>2</a:t>
                      </a:r>
                    </a:p>
                  </a:txBody>
                  <a:tcPr marL="36000" marR="36000" marT="4763" marB="0" anchor="ctr">
                    <a:solidFill>
                      <a:srgbClr val="F2F2F2"/>
                    </a:solidFill>
                  </a:tcPr>
                </a:tc>
                <a:tc>
                  <a:txBody>
                    <a:bodyPr/>
                    <a:lstStyle/>
                    <a:p>
                      <a:pPr algn="l">
                        <a:defRPr sz="900">
                          <a:latin typeface="Nexa Book (Body)"/>
                        </a:defRPr>
                      </a:pPr>
                      <a:r>
                        <a:rPr sz="900">
                          <a:latin typeface="Nexa Book (Body)"/>
                        </a:rPr>
                        <a:t>All Others/Soft Cheese</a:t>
                      </a:r>
                    </a:p>
                  </a:txBody>
                  <a:tcPr marL="36000" marR="36000" marT="4763" marB="0" anchor="ctr">
                    <a:solidFill>
                      <a:srgbClr val="F2F2F2"/>
                    </a:solidFill>
                  </a:tcPr>
                </a:tc>
                <a:extLst>
                  <a:ext uri="{0D108BD9-81ED-4DB2-BD59-A6C34878D82A}">
                    <a16:rowId xmlns:a16="http://schemas.microsoft.com/office/drawing/2014/main" val="264026324"/>
                  </a:ext>
                </a:extLst>
              </a:tr>
              <a:tr h="326340">
                <a:tc>
                  <a:txBody>
                    <a:bodyPr/>
                    <a:lstStyle/>
                    <a:p>
                      <a:pPr algn="ctr">
                        <a:defRPr sz="900">
                          <a:latin typeface="Nexa Book (Body)"/>
                        </a:defRPr>
                      </a:pPr>
                      <a:r>
                        <a:rPr sz="900">
                          <a:latin typeface="Nexa Book (Body)"/>
                        </a:rPr>
                        <a:t>3</a:t>
                      </a:r>
                    </a:p>
                  </a:txBody>
                  <a:tcPr marL="36000" marR="36000" marT="4763" marB="0" anchor="ctr">
                    <a:solidFill>
                      <a:srgbClr val="FFBFBF"/>
                    </a:solidFill>
                  </a:tcPr>
                </a:tc>
                <a:tc>
                  <a:txBody>
                    <a:bodyPr/>
                    <a:lstStyle/>
                    <a:p>
                      <a:pPr algn="l">
                        <a:defRPr sz="900">
                          <a:latin typeface="Nexa Book (Body)"/>
                        </a:defRPr>
                      </a:pPr>
                      <a:r>
                        <a:rPr sz="900">
                          <a:latin typeface="Nexa Book (Body)"/>
                        </a:rPr>
                        <a:t>President/Soft Cheese</a:t>
                      </a:r>
                    </a:p>
                  </a:txBody>
                  <a:tcPr marL="36000" marR="36000" marT="4763" marB="0" anchor="ctr">
                    <a:solidFill>
                      <a:srgbClr val="FFBFBF"/>
                    </a:solidFill>
                  </a:tcPr>
                </a:tc>
                <a:extLst>
                  <a:ext uri="{0D108BD9-81ED-4DB2-BD59-A6C34878D82A}">
                    <a16:rowId xmlns:a16="http://schemas.microsoft.com/office/drawing/2014/main" val="613793393"/>
                  </a:ext>
                </a:extLst>
              </a:tr>
              <a:tr h="326340">
                <a:tc>
                  <a:txBody>
                    <a:bodyPr/>
                    <a:lstStyle/>
                    <a:p>
                      <a:pPr algn="ctr">
                        <a:defRPr sz="900">
                          <a:latin typeface="Nexa Book (Body)"/>
                        </a:defRPr>
                      </a:pPr>
                      <a:r>
                        <a:rPr sz="900">
                          <a:latin typeface="Nexa Book (Body)"/>
                        </a:rPr>
                        <a:t>4</a:t>
                      </a:r>
                    </a:p>
                  </a:txBody>
                  <a:tcPr marL="36000" marR="36000" marT="4763" marB="0" anchor="ctr">
                    <a:solidFill>
                      <a:srgbClr val="FFBFBF"/>
                    </a:solidFill>
                  </a:tcPr>
                </a:tc>
                <a:tc>
                  <a:txBody>
                    <a:bodyPr/>
                    <a:lstStyle/>
                    <a:p>
                      <a:pPr algn="l">
                        <a:defRPr sz="900">
                          <a:latin typeface="Nexa Book (Body)"/>
                        </a:defRPr>
                      </a:pPr>
                      <a:r>
                        <a:rPr sz="900">
                          <a:latin typeface="Nexa Book (Body)"/>
                        </a:rPr>
                        <a:t>Soignon/Soft Cheese</a:t>
                      </a:r>
                    </a:p>
                  </a:txBody>
                  <a:tcPr marL="36000" marR="36000" marT="4763" marB="0" anchor="ctr">
                    <a:solidFill>
                      <a:srgbClr val="FFBFBF"/>
                    </a:solidFill>
                  </a:tcPr>
                </a:tc>
                <a:extLst>
                  <a:ext uri="{0D108BD9-81ED-4DB2-BD59-A6C34878D82A}">
                    <a16:rowId xmlns:a16="http://schemas.microsoft.com/office/drawing/2014/main" val="4246246309"/>
                  </a:ext>
                </a:extLst>
              </a:tr>
              <a:tr h="326340">
                <a:tc>
                  <a:txBody>
                    <a:bodyPr/>
                    <a:lstStyle/>
                    <a:p>
                      <a:pPr algn="ctr">
                        <a:defRPr sz="900">
                          <a:latin typeface="Nexa Book (Body)"/>
                        </a:defRPr>
                      </a:pPr>
                      <a:r>
                        <a:rPr sz="900">
                          <a:latin typeface="Nexa Book (Body)"/>
                        </a:rPr>
                        <a:t>5</a:t>
                      </a:r>
                    </a:p>
                  </a:txBody>
                  <a:tcPr marL="36000" marR="36000" marT="4763" marB="0" anchor="ctr">
                    <a:solidFill>
                      <a:srgbClr val="CBEAE7"/>
                    </a:solidFill>
                  </a:tcPr>
                </a:tc>
                <a:tc>
                  <a:txBody>
                    <a:bodyPr/>
                    <a:lstStyle/>
                    <a:p>
                      <a:pPr algn="l">
                        <a:defRPr sz="900">
                          <a:latin typeface="Nexa Book (Body)"/>
                        </a:defRPr>
                      </a:pPr>
                      <a:r>
                        <a:rPr sz="900">
                          <a:latin typeface="Nexa Book (Body)"/>
                        </a:rPr>
                        <a:t>St Moret/Soft Cheese</a:t>
                      </a:r>
                    </a:p>
                  </a:txBody>
                  <a:tcPr marL="36000" marR="36000" marT="4763" marB="0" anchor="ctr">
                    <a:solidFill>
                      <a:srgbClr val="CBEAE7"/>
                    </a:solidFill>
                  </a:tcPr>
                </a:tc>
                <a:extLst>
                  <a:ext uri="{0D108BD9-81ED-4DB2-BD59-A6C34878D82A}">
                    <a16:rowId xmlns:a16="http://schemas.microsoft.com/office/drawing/2014/main" val="418503086"/>
                  </a:ext>
                </a:extLst>
              </a:tr>
              <a:tr h="326340">
                <a:tc>
                  <a:txBody>
                    <a:bodyPr/>
                    <a:lstStyle/>
                    <a:p>
                      <a:pPr algn="ctr">
                        <a:defRPr sz="900">
                          <a:latin typeface="Nexa Book (Body)"/>
                        </a:defRPr>
                      </a:pPr>
                      <a:r>
                        <a:rPr sz="900">
                          <a:latin typeface="Nexa Book (Body)"/>
                        </a:rPr>
                        <a:t>6</a:t>
                      </a:r>
                    </a:p>
                  </a:txBody>
                  <a:tcPr marL="36000" marR="36000" marT="4763" marB="0" anchor="ctr">
                    <a:solidFill>
                      <a:srgbClr val="FFBFBF"/>
                    </a:solidFill>
                  </a:tcPr>
                </a:tc>
                <a:tc>
                  <a:txBody>
                    <a:bodyPr/>
                    <a:lstStyle/>
                    <a:p>
                      <a:pPr algn="l">
                        <a:defRPr sz="900">
                          <a:latin typeface="Nexa Book (Body)"/>
                        </a:defRPr>
                      </a:pPr>
                      <a:r>
                        <a:rPr sz="900">
                          <a:latin typeface="Nexa Book (Body)"/>
                        </a:rPr>
                        <a:t>Caprice Des Dieux/Soft Cheese</a:t>
                      </a:r>
                    </a:p>
                  </a:txBody>
                  <a:tcPr marL="36000" marR="36000" marT="4763" marB="0" anchor="ctr">
                    <a:solidFill>
                      <a:srgbClr val="FFBFBF"/>
                    </a:solidFill>
                  </a:tcPr>
                </a:tc>
                <a:extLst>
                  <a:ext uri="{0D108BD9-81ED-4DB2-BD59-A6C34878D82A}">
                    <a16:rowId xmlns:a16="http://schemas.microsoft.com/office/drawing/2014/main" val="381854689"/>
                  </a:ext>
                </a:extLst>
              </a:tr>
              <a:tr h="326340">
                <a:tc>
                  <a:txBody>
                    <a:bodyPr/>
                    <a:lstStyle/>
                    <a:p>
                      <a:pPr algn="ctr">
                        <a:defRPr sz="900">
                          <a:latin typeface="Nexa Book (Body)"/>
                        </a:defRPr>
                      </a:pPr>
                      <a:r>
                        <a:rPr sz="900">
                          <a:latin typeface="Nexa Book (Body)"/>
                        </a:rPr>
                        <a:t>7</a:t>
                      </a:r>
                    </a:p>
                  </a:txBody>
                  <a:tcPr marL="36000" marR="36000" marT="4763" marB="0" anchor="ctr">
                    <a:solidFill>
                      <a:srgbClr val="F2F2F2"/>
                    </a:solidFill>
                  </a:tcPr>
                </a:tc>
                <a:tc>
                  <a:txBody>
                    <a:bodyPr/>
                    <a:lstStyle/>
                    <a:p>
                      <a:pPr algn="l">
                        <a:defRPr sz="900">
                          <a:latin typeface="Nexa Book (Body)"/>
                        </a:defRPr>
                      </a:pPr>
                      <a:r>
                        <a:rPr sz="900">
                          <a:latin typeface="Nexa Book (Body)"/>
                        </a:rPr>
                        <a:t>La Vache Qui Rit/Soft Cheese</a:t>
                      </a:r>
                    </a:p>
                  </a:txBody>
                  <a:tcPr marL="36000" marR="36000" marT="4763" marB="0" anchor="ctr">
                    <a:solidFill>
                      <a:srgbClr val="F2F2F2"/>
                    </a:solidFill>
                  </a:tcPr>
                </a:tc>
                <a:extLst>
                  <a:ext uri="{0D108BD9-81ED-4DB2-BD59-A6C34878D82A}">
                    <a16:rowId xmlns:a16="http://schemas.microsoft.com/office/drawing/2014/main" val="362768916"/>
                  </a:ext>
                </a:extLst>
              </a:tr>
              <a:tr h="326340">
                <a:tc>
                  <a:txBody>
                    <a:bodyPr/>
                    <a:lstStyle/>
                    <a:p>
                      <a:pPr algn="ctr">
                        <a:defRPr sz="900">
                          <a:latin typeface="Nexa Book (Body)"/>
                        </a:defRPr>
                      </a:pPr>
                      <a:r>
                        <a:rPr sz="900">
                          <a:latin typeface="Nexa Book (Body)"/>
                        </a:rPr>
                        <a:t>8</a:t>
                      </a:r>
                    </a:p>
                  </a:txBody>
                  <a:tcPr marL="36000" marR="36000" marT="4763" marB="0" anchor="ctr">
                    <a:solidFill>
                      <a:srgbClr val="FFBFBF"/>
                    </a:solidFill>
                  </a:tcPr>
                </a:tc>
                <a:tc>
                  <a:txBody>
                    <a:bodyPr/>
                    <a:lstStyle/>
                    <a:p>
                      <a:pPr algn="l">
                        <a:defRPr sz="900">
                          <a:latin typeface="Nexa Book (Body)"/>
                        </a:defRPr>
                      </a:pPr>
                      <a:r>
                        <a:rPr sz="900">
                          <a:latin typeface="Nexa Book (Body)"/>
                        </a:rPr>
                        <a:t>Kiri/Soft Cheese</a:t>
                      </a:r>
                    </a:p>
                  </a:txBody>
                  <a:tcPr marL="36000" marR="36000" marT="4763" marB="0" anchor="ctr">
                    <a:solidFill>
                      <a:srgbClr val="FFBFBF"/>
                    </a:solidFill>
                  </a:tcPr>
                </a:tc>
                <a:extLst>
                  <a:ext uri="{0D108BD9-81ED-4DB2-BD59-A6C34878D82A}">
                    <a16:rowId xmlns:a16="http://schemas.microsoft.com/office/drawing/2014/main" val="1139766948"/>
                  </a:ext>
                </a:extLst>
              </a:tr>
              <a:tr h="326340">
                <a:tc>
                  <a:txBody>
                    <a:bodyPr/>
                    <a:lstStyle/>
                    <a:p>
                      <a:pPr algn="ctr">
                        <a:defRPr sz="900">
                          <a:latin typeface="Nexa Book (Body)"/>
                        </a:defRPr>
                      </a:pPr>
                      <a:r>
                        <a:rPr sz="900">
                          <a:latin typeface="Nexa Book (Body)"/>
                        </a:rPr>
                        <a:t>9</a:t>
                      </a:r>
                    </a:p>
                  </a:txBody>
                  <a:tcPr marL="36000" marR="36000" marT="4763" marB="0" anchor="ctr">
                    <a:solidFill>
                      <a:srgbClr val="FFBFBF"/>
                    </a:solidFill>
                  </a:tcPr>
                </a:tc>
                <a:tc>
                  <a:txBody>
                    <a:bodyPr/>
                    <a:lstStyle/>
                    <a:p>
                      <a:pPr algn="l">
                        <a:defRPr sz="900">
                          <a:latin typeface="Nexa Book (Body)"/>
                        </a:defRPr>
                      </a:pPr>
                      <a:r>
                        <a:rPr sz="900">
                          <a:latin typeface="Nexa Book (Body)"/>
                        </a:rPr>
                        <a:t>Boursin/Soft Cheese</a:t>
                      </a:r>
                    </a:p>
                  </a:txBody>
                  <a:tcPr marL="36000" marR="36000" marT="4763" marB="0" anchor="ctr">
                    <a:solidFill>
                      <a:srgbClr val="FFBFBF"/>
                    </a:solidFill>
                  </a:tcPr>
                </a:tc>
                <a:extLst>
                  <a:ext uri="{0D108BD9-81ED-4DB2-BD59-A6C34878D82A}">
                    <a16:rowId xmlns:a16="http://schemas.microsoft.com/office/drawing/2014/main" val="1687090376"/>
                  </a:ext>
                </a:extLst>
              </a:tr>
              <a:tr h="326340">
                <a:tc>
                  <a:txBody>
                    <a:bodyPr/>
                    <a:lstStyle/>
                    <a:p>
                      <a:pPr algn="ctr">
                        <a:defRPr sz="900">
                          <a:latin typeface="Nexa Book (Body)"/>
                        </a:defRPr>
                      </a:pPr>
                      <a:r>
                        <a:rPr sz="900">
                          <a:latin typeface="Nexa Book (Body)"/>
                        </a:rPr>
                        <a:t>10</a:t>
                      </a:r>
                    </a:p>
                  </a:txBody>
                  <a:tcPr marL="36000" marR="36000" marT="4763" marB="0" anchor="ctr">
                    <a:solidFill>
                      <a:srgbClr val="FFBFBF"/>
                    </a:solidFill>
                  </a:tcPr>
                </a:tc>
                <a:tc>
                  <a:txBody>
                    <a:bodyPr/>
                    <a:lstStyle/>
                    <a:p>
                      <a:pPr algn="l">
                        <a:defRPr sz="900">
                          <a:latin typeface="Nexa Book (Body)"/>
                        </a:defRPr>
                      </a:pPr>
                      <a:r>
                        <a:rPr sz="900">
                          <a:latin typeface="Nexa Book (Body)"/>
                        </a:rPr>
                        <a:t>Boursin/Aperitif</a:t>
                      </a:r>
                    </a:p>
                  </a:txBody>
                  <a:tcPr marL="36000" marR="36000" marT="4763" marB="0" anchor="ctr">
                    <a:solidFill>
                      <a:srgbClr val="FFBFBF"/>
                    </a:solidFill>
                  </a:tcPr>
                </a:tc>
                <a:extLst>
                  <a:ext uri="{0D108BD9-81ED-4DB2-BD59-A6C34878D82A}">
                    <a16:rowId xmlns:a16="http://schemas.microsoft.com/office/drawing/2014/main" val="1182192680"/>
                  </a:ext>
                </a:extLst>
              </a:tr>
              <a:tr h="326340">
                <a:tc>
                  <a:txBody>
                    <a:bodyPr/>
                    <a:lstStyle/>
                    <a:p>
                      <a:pPr algn="ctr">
                        <a:defRPr sz="900">
                          <a:latin typeface="Nexa Book (Body)"/>
                        </a:defRPr>
                      </a:pPr>
                      <a:r>
                        <a:rPr sz="900">
                          <a:latin typeface="Nexa Book (Body)"/>
                        </a:rPr>
                        <a:t>11</a:t>
                      </a:r>
                    </a:p>
                  </a:txBody>
                  <a:tcPr marL="36000" marR="36000" marT="4763" marB="0" anchor="ctr">
                    <a:solidFill>
                      <a:srgbClr val="FFBFBF"/>
                    </a:solidFill>
                  </a:tcPr>
                </a:tc>
                <a:tc>
                  <a:txBody>
                    <a:bodyPr/>
                    <a:lstStyle/>
                    <a:p>
                      <a:pPr algn="l">
                        <a:defRPr sz="900">
                          <a:latin typeface="Nexa Book (Body)"/>
                        </a:defRPr>
                      </a:pPr>
                      <a:r>
                        <a:rPr sz="900">
                          <a:latin typeface="Nexa Book (Body)"/>
                        </a:rPr>
                        <a:t>Boursin/Alternative Vegetale</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9/25/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3134221937"/>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Total Fromage | Carrefour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326340">
                <a:tc>
                  <a:txBody>
                    <a:bodyPr/>
                    <a:lstStyle/>
                    <a:p>
                      <a:pPr algn="ctr">
                        <a:defRPr sz="900">
                          <a:latin typeface="Nexa Book (Body)"/>
                        </a:defRPr>
                      </a:pPr>
                      <a:r>
                        <a:rPr sz="900">
                          <a:latin typeface="Nexa Book (Body)"/>
                        </a:rPr>
                        <a:t>1</a:t>
                      </a:r>
                    </a:p>
                  </a:txBody>
                  <a:tcPr marL="36000" marR="36000" marT="4763" marB="0" anchor="ctr">
                    <a:solidFill>
                      <a:srgbClr val="CBEAE7"/>
                    </a:solidFill>
                  </a:tcPr>
                </a:tc>
                <a:tc>
                  <a:txBody>
                    <a:bodyPr/>
                    <a:lstStyle/>
                    <a:p>
                      <a:pPr algn="l">
                        <a:defRPr sz="900">
                          <a:latin typeface="Nexa Book (Body)"/>
                        </a:defRPr>
                      </a:pPr>
                      <a:r>
                        <a:rPr sz="900">
                          <a:latin typeface="Nexa Book (Body)"/>
                        </a:rPr>
                        <a:t>Private Label/Soft Cheese</a:t>
                      </a:r>
                    </a:p>
                  </a:txBody>
                  <a:tcPr marL="36000" marR="36000" marT="4763" marB="0" anchor="ctr">
                    <a:solidFill>
                      <a:srgbClr val="CBEAE7"/>
                    </a:solidFill>
                  </a:tcPr>
                </a:tc>
                <a:extLst>
                  <a:ext uri="{0D108BD9-81ED-4DB2-BD59-A6C34878D82A}">
                    <a16:rowId xmlns:a16="http://schemas.microsoft.com/office/drawing/2014/main" val="3477306869"/>
                  </a:ext>
                </a:extLst>
              </a:tr>
              <a:tr h="326340">
                <a:tc>
                  <a:txBody>
                    <a:bodyPr/>
                    <a:lstStyle/>
                    <a:p>
                      <a:pPr algn="ctr">
                        <a:defRPr sz="900">
                          <a:latin typeface="Nexa Book (Body)"/>
                        </a:defRPr>
                      </a:pPr>
                      <a:r>
                        <a:rPr sz="900">
                          <a:latin typeface="Nexa Book (Body)"/>
                        </a:rPr>
                        <a:t>2</a:t>
                      </a:r>
                    </a:p>
                  </a:txBody>
                  <a:tcPr marL="36000" marR="36000" marT="4763" marB="0" anchor="ctr">
                    <a:solidFill>
                      <a:srgbClr val="CBEAE7"/>
                    </a:solidFill>
                  </a:tcPr>
                </a:tc>
                <a:tc>
                  <a:txBody>
                    <a:bodyPr/>
                    <a:lstStyle/>
                    <a:p>
                      <a:pPr algn="l">
                        <a:defRPr sz="900">
                          <a:latin typeface="Nexa Book (Body)"/>
                        </a:defRPr>
                      </a:pPr>
                      <a:r>
                        <a:rPr sz="900">
                          <a:latin typeface="Nexa Book (Body)"/>
                        </a:rPr>
                        <a:t>All Others/Soft Cheese</a:t>
                      </a:r>
                    </a:p>
                  </a:txBody>
                  <a:tcPr marL="36000" marR="36000" marT="4763" marB="0" anchor="ctr">
                    <a:solidFill>
                      <a:srgbClr val="CBEAE7"/>
                    </a:solidFill>
                  </a:tcPr>
                </a:tc>
                <a:extLst>
                  <a:ext uri="{0D108BD9-81ED-4DB2-BD59-A6C34878D82A}">
                    <a16:rowId xmlns:a16="http://schemas.microsoft.com/office/drawing/2014/main" val="264026324"/>
                  </a:ext>
                </a:extLst>
              </a:tr>
              <a:tr h="326340">
                <a:tc>
                  <a:txBody>
                    <a:bodyPr/>
                    <a:lstStyle/>
                    <a:p>
                      <a:pPr algn="ctr">
                        <a:defRPr sz="900">
                          <a:latin typeface="Nexa Book (Body)"/>
                        </a:defRPr>
                      </a:pPr>
                      <a:r>
                        <a:rPr sz="900">
                          <a:latin typeface="Nexa Book (Body)"/>
                        </a:rPr>
                        <a:t>3</a:t>
                      </a:r>
                    </a:p>
                  </a:txBody>
                  <a:tcPr marL="36000" marR="36000" marT="4763" marB="0" anchor="ctr">
                    <a:solidFill>
                      <a:srgbClr val="FFBFBF"/>
                    </a:solidFill>
                  </a:tcPr>
                </a:tc>
                <a:tc>
                  <a:txBody>
                    <a:bodyPr/>
                    <a:lstStyle/>
                    <a:p>
                      <a:pPr algn="l">
                        <a:defRPr sz="900">
                          <a:latin typeface="Nexa Book (Body)"/>
                        </a:defRPr>
                      </a:pPr>
                      <a:r>
                        <a:rPr sz="900">
                          <a:latin typeface="Nexa Book (Body)"/>
                        </a:rPr>
                        <a:t>President/Soft Cheese</a:t>
                      </a:r>
                    </a:p>
                  </a:txBody>
                  <a:tcPr marL="36000" marR="36000" marT="4763" marB="0" anchor="ctr">
                    <a:solidFill>
                      <a:srgbClr val="FFBFBF"/>
                    </a:solidFill>
                  </a:tcPr>
                </a:tc>
                <a:extLst>
                  <a:ext uri="{0D108BD9-81ED-4DB2-BD59-A6C34878D82A}">
                    <a16:rowId xmlns:a16="http://schemas.microsoft.com/office/drawing/2014/main" val="613793393"/>
                  </a:ext>
                </a:extLst>
              </a:tr>
              <a:tr h="326340">
                <a:tc>
                  <a:txBody>
                    <a:bodyPr/>
                    <a:lstStyle/>
                    <a:p>
                      <a:pPr algn="ctr">
                        <a:defRPr sz="900">
                          <a:latin typeface="Nexa Book (Body)"/>
                        </a:defRPr>
                      </a:pPr>
                      <a:r>
                        <a:rPr sz="900">
                          <a:latin typeface="Nexa Book (Body)"/>
                        </a:rPr>
                        <a:t>4</a:t>
                      </a:r>
                    </a:p>
                  </a:txBody>
                  <a:tcPr marL="36000" marR="36000" marT="4763" marB="0" anchor="ctr">
                    <a:solidFill>
                      <a:srgbClr val="FFBFBF"/>
                    </a:solidFill>
                  </a:tcPr>
                </a:tc>
                <a:tc>
                  <a:txBody>
                    <a:bodyPr/>
                    <a:lstStyle/>
                    <a:p>
                      <a:pPr algn="l">
                        <a:defRPr sz="900">
                          <a:latin typeface="Nexa Book (Body)"/>
                        </a:defRPr>
                      </a:pPr>
                      <a:r>
                        <a:rPr sz="900">
                          <a:latin typeface="Nexa Book (Body)"/>
                        </a:rPr>
                        <a:t>Soignon/Soft Cheese</a:t>
                      </a:r>
                    </a:p>
                  </a:txBody>
                  <a:tcPr marL="36000" marR="36000" marT="4763" marB="0" anchor="ctr">
                    <a:solidFill>
                      <a:srgbClr val="FFBFBF"/>
                    </a:solidFill>
                  </a:tcPr>
                </a:tc>
                <a:extLst>
                  <a:ext uri="{0D108BD9-81ED-4DB2-BD59-A6C34878D82A}">
                    <a16:rowId xmlns:a16="http://schemas.microsoft.com/office/drawing/2014/main" val="4246246309"/>
                  </a:ext>
                </a:extLst>
              </a:tr>
              <a:tr h="326340">
                <a:tc>
                  <a:txBody>
                    <a:bodyPr/>
                    <a:lstStyle/>
                    <a:p>
                      <a:pPr algn="ctr">
                        <a:defRPr sz="900">
                          <a:latin typeface="Nexa Book (Body)"/>
                        </a:defRPr>
                      </a:pPr>
                      <a:r>
                        <a:rPr sz="900">
                          <a:latin typeface="Nexa Book (Body)"/>
                        </a:rPr>
                        <a:t>5</a:t>
                      </a:r>
                    </a:p>
                  </a:txBody>
                  <a:tcPr marL="36000" marR="36000" marT="4763" marB="0" anchor="ctr">
                    <a:solidFill>
                      <a:srgbClr val="FFBFBF"/>
                    </a:solidFill>
                  </a:tcPr>
                </a:tc>
                <a:tc>
                  <a:txBody>
                    <a:bodyPr/>
                    <a:lstStyle/>
                    <a:p>
                      <a:pPr algn="l">
                        <a:defRPr sz="900">
                          <a:latin typeface="Nexa Book (Body)"/>
                        </a:defRPr>
                      </a:pPr>
                      <a:r>
                        <a:rPr sz="900">
                          <a:latin typeface="Nexa Book (Body)"/>
                        </a:rPr>
                        <a:t>Caprice Des Dieux/Soft Cheese</a:t>
                      </a:r>
                    </a:p>
                  </a:txBody>
                  <a:tcPr marL="36000" marR="36000" marT="4763" marB="0" anchor="ctr">
                    <a:solidFill>
                      <a:srgbClr val="FFBFBF"/>
                    </a:solidFill>
                  </a:tcPr>
                </a:tc>
                <a:extLst>
                  <a:ext uri="{0D108BD9-81ED-4DB2-BD59-A6C34878D82A}">
                    <a16:rowId xmlns:a16="http://schemas.microsoft.com/office/drawing/2014/main" val="418503086"/>
                  </a:ext>
                </a:extLst>
              </a:tr>
              <a:tr h="326340">
                <a:tc>
                  <a:txBody>
                    <a:bodyPr/>
                    <a:lstStyle/>
                    <a:p>
                      <a:pPr algn="ctr">
                        <a:defRPr sz="900">
                          <a:latin typeface="Nexa Book (Body)"/>
                        </a:defRPr>
                      </a:pPr>
                      <a:r>
                        <a:rPr sz="900">
                          <a:latin typeface="Nexa Book (Body)"/>
                        </a:rPr>
                        <a:t>6</a:t>
                      </a:r>
                    </a:p>
                  </a:txBody>
                  <a:tcPr marL="36000" marR="36000" marT="4763" marB="0" anchor="ctr">
                    <a:solidFill>
                      <a:srgbClr val="CBEAE7"/>
                    </a:solidFill>
                  </a:tcPr>
                </a:tc>
                <a:tc>
                  <a:txBody>
                    <a:bodyPr/>
                    <a:lstStyle/>
                    <a:p>
                      <a:pPr algn="l">
                        <a:defRPr sz="900">
                          <a:latin typeface="Nexa Book (Body)"/>
                        </a:defRPr>
                      </a:pPr>
                      <a:r>
                        <a:rPr sz="900">
                          <a:latin typeface="Nexa Book (Body)"/>
                        </a:rPr>
                        <a:t>St Moret/Soft Cheese</a:t>
                      </a:r>
                    </a:p>
                  </a:txBody>
                  <a:tcPr marL="36000" marR="36000" marT="4763" marB="0" anchor="ctr">
                    <a:solidFill>
                      <a:srgbClr val="CBEAE7"/>
                    </a:solidFill>
                  </a:tcPr>
                </a:tc>
                <a:extLst>
                  <a:ext uri="{0D108BD9-81ED-4DB2-BD59-A6C34878D82A}">
                    <a16:rowId xmlns:a16="http://schemas.microsoft.com/office/drawing/2014/main" val="381854689"/>
                  </a:ext>
                </a:extLst>
              </a:tr>
              <a:tr h="326340">
                <a:tc>
                  <a:txBody>
                    <a:bodyPr/>
                    <a:lstStyle/>
                    <a:p>
                      <a:pPr algn="ctr">
                        <a:defRPr sz="900">
                          <a:latin typeface="Nexa Book (Body)"/>
                        </a:defRPr>
                      </a:pPr>
                      <a:r>
                        <a:rPr sz="900">
                          <a:latin typeface="Nexa Book (Body)"/>
                        </a:rPr>
                        <a:t>7</a:t>
                      </a:r>
                    </a:p>
                  </a:txBody>
                  <a:tcPr marL="36000" marR="36000" marT="4763" marB="0" anchor="ctr">
                    <a:solidFill>
                      <a:srgbClr val="FFBFBF"/>
                    </a:solidFill>
                  </a:tcPr>
                </a:tc>
                <a:tc>
                  <a:txBody>
                    <a:bodyPr/>
                    <a:lstStyle/>
                    <a:p>
                      <a:pPr algn="l">
                        <a:defRPr sz="900">
                          <a:latin typeface="Nexa Book (Body)"/>
                        </a:defRPr>
                      </a:pPr>
                      <a:r>
                        <a:rPr sz="900">
                          <a:latin typeface="Nexa Book (Body)"/>
                        </a:rPr>
                        <a:t>La Vache Qui Rit/Soft Cheese</a:t>
                      </a:r>
                    </a:p>
                  </a:txBody>
                  <a:tcPr marL="36000" marR="36000" marT="4763" marB="0" anchor="ctr">
                    <a:solidFill>
                      <a:srgbClr val="FFBFBF"/>
                    </a:solidFill>
                  </a:tcPr>
                </a:tc>
                <a:extLst>
                  <a:ext uri="{0D108BD9-81ED-4DB2-BD59-A6C34878D82A}">
                    <a16:rowId xmlns:a16="http://schemas.microsoft.com/office/drawing/2014/main" val="362768916"/>
                  </a:ext>
                </a:extLst>
              </a:tr>
              <a:tr h="326340">
                <a:tc>
                  <a:txBody>
                    <a:bodyPr/>
                    <a:lstStyle/>
                    <a:p>
                      <a:pPr algn="ctr">
                        <a:defRPr sz="900">
                          <a:latin typeface="Nexa Book (Body)"/>
                        </a:defRPr>
                      </a:pPr>
                      <a:r>
                        <a:rPr sz="900">
                          <a:latin typeface="Nexa Book (Body)"/>
                        </a:rPr>
                        <a:t>8</a:t>
                      </a:r>
                    </a:p>
                  </a:txBody>
                  <a:tcPr marL="36000" marR="36000" marT="4763" marB="0" anchor="ctr">
                    <a:solidFill>
                      <a:srgbClr val="FFBFBF"/>
                    </a:solidFill>
                  </a:tcPr>
                </a:tc>
                <a:tc>
                  <a:txBody>
                    <a:bodyPr/>
                    <a:lstStyle/>
                    <a:p>
                      <a:pPr algn="l">
                        <a:defRPr sz="900">
                          <a:latin typeface="Nexa Book (Body)"/>
                        </a:defRPr>
                      </a:pPr>
                      <a:r>
                        <a:rPr sz="900">
                          <a:latin typeface="Nexa Book (Body)"/>
                        </a:rPr>
                        <a:t>Kiri/Soft Cheese</a:t>
                      </a:r>
                    </a:p>
                  </a:txBody>
                  <a:tcPr marL="36000" marR="36000" marT="4763" marB="0" anchor="ctr">
                    <a:solidFill>
                      <a:srgbClr val="FFBFBF"/>
                    </a:solidFill>
                  </a:tcPr>
                </a:tc>
                <a:extLst>
                  <a:ext uri="{0D108BD9-81ED-4DB2-BD59-A6C34878D82A}">
                    <a16:rowId xmlns:a16="http://schemas.microsoft.com/office/drawing/2014/main" val="1139766948"/>
                  </a:ext>
                </a:extLst>
              </a:tr>
              <a:tr h="326340">
                <a:tc>
                  <a:txBody>
                    <a:bodyPr/>
                    <a:lstStyle/>
                    <a:p>
                      <a:pPr algn="ctr">
                        <a:defRPr sz="900">
                          <a:latin typeface="Nexa Book (Body)"/>
                        </a:defRPr>
                      </a:pPr>
                      <a:r>
                        <a:rPr sz="900">
                          <a:latin typeface="Nexa Book (Body)"/>
                        </a:rPr>
                        <a:t>9</a:t>
                      </a:r>
                    </a:p>
                  </a:txBody>
                  <a:tcPr marL="36000" marR="36000" marT="4763" marB="0" anchor="ctr">
                    <a:solidFill>
                      <a:srgbClr val="FFBFBF"/>
                    </a:solidFill>
                  </a:tcPr>
                </a:tc>
                <a:tc>
                  <a:txBody>
                    <a:bodyPr/>
                    <a:lstStyle/>
                    <a:p>
                      <a:pPr algn="l">
                        <a:defRPr sz="900">
                          <a:latin typeface="Nexa Book (Body)"/>
                        </a:defRPr>
                      </a:pPr>
                      <a:r>
                        <a:rPr sz="900">
                          <a:latin typeface="Nexa Book (Body)"/>
                        </a:rPr>
                        <a:t>Boursin/Soft Cheese</a:t>
                      </a:r>
                    </a:p>
                  </a:txBody>
                  <a:tcPr marL="36000" marR="36000" marT="4763" marB="0" anchor="ctr">
                    <a:solidFill>
                      <a:srgbClr val="FFBFBF"/>
                    </a:solidFill>
                  </a:tcPr>
                </a:tc>
                <a:extLst>
                  <a:ext uri="{0D108BD9-81ED-4DB2-BD59-A6C34878D82A}">
                    <a16:rowId xmlns:a16="http://schemas.microsoft.com/office/drawing/2014/main" val="1687090376"/>
                  </a:ext>
                </a:extLst>
              </a:tr>
              <a:tr h="326340">
                <a:tc>
                  <a:txBody>
                    <a:bodyPr/>
                    <a:lstStyle/>
                    <a:p>
                      <a:pPr algn="ctr">
                        <a:defRPr sz="900">
                          <a:latin typeface="Nexa Book (Body)"/>
                        </a:defRPr>
                      </a:pPr>
                      <a:r>
                        <a:rPr sz="900">
                          <a:latin typeface="Nexa Book (Body)"/>
                        </a:rPr>
                        <a:t>10</a:t>
                      </a:r>
                    </a:p>
                  </a:txBody>
                  <a:tcPr marL="36000" marR="36000" marT="4763" marB="0" anchor="ctr">
                    <a:solidFill>
                      <a:srgbClr val="CBEAE7"/>
                    </a:solidFill>
                  </a:tcPr>
                </a:tc>
                <a:tc>
                  <a:txBody>
                    <a:bodyPr/>
                    <a:lstStyle/>
                    <a:p>
                      <a:pPr algn="l">
                        <a:defRPr sz="900">
                          <a:latin typeface="Nexa Book (Body)"/>
                        </a:defRPr>
                      </a:pPr>
                      <a:r>
                        <a:rPr sz="900">
                          <a:latin typeface="Nexa Book (Body)"/>
                        </a:rPr>
                        <a:t>Boursin/Aperitif</a:t>
                      </a:r>
                    </a:p>
                  </a:txBody>
                  <a:tcPr marL="36000" marR="36000" marT="4763" marB="0" anchor="ctr">
                    <a:solidFill>
                      <a:srgbClr val="CBEAE7"/>
                    </a:solidFill>
                  </a:tcPr>
                </a:tc>
                <a:extLst>
                  <a:ext uri="{0D108BD9-81ED-4DB2-BD59-A6C34878D82A}">
                    <a16:rowId xmlns:a16="http://schemas.microsoft.com/office/drawing/2014/main" val="1182192680"/>
                  </a:ext>
                </a:extLst>
              </a:tr>
              <a:tr h="326340">
                <a:tc>
                  <a:txBody>
                    <a:bodyPr/>
                    <a:lstStyle/>
                    <a:p>
                      <a:pPr algn="ctr">
                        <a:defRPr sz="900">
                          <a:latin typeface="Nexa Book (Body)"/>
                        </a:defRPr>
                      </a:pPr>
                      <a:r>
                        <a:rPr sz="900">
                          <a:latin typeface="Nexa Book (Body)"/>
                        </a:rPr>
                        <a:t>11</a:t>
                      </a:r>
                    </a:p>
                  </a:txBody>
                  <a:tcPr marL="36000" marR="36000" marT="4763" marB="0" anchor="ctr">
                    <a:solidFill>
                      <a:srgbClr val="F2F2F2"/>
                    </a:solidFill>
                  </a:tcPr>
                </a:tc>
                <a:tc>
                  <a:txBody>
                    <a:bodyPr/>
                    <a:lstStyle/>
                    <a:p>
                      <a:pPr algn="l">
                        <a:defRPr sz="900">
                          <a:latin typeface="Nexa Book (Body)"/>
                        </a:defRPr>
                      </a:pPr>
                      <a:r>
                        <a:rPr sz="900">
                          <a:latin typeface="Nexa Book (Body)"/>
                        </a:rPr>
                        <a:t>Boursin/Alternative Vegetale</a:t>
                      </a:r>
                    </a:p>
                  </a:txBody>
                  <a:tcPr marL="36000" marR="36000" marT="4763" marB="0" anchor="ctr">
                    <a:solidFill>
                      <a:srgbClr val="F2F2F2"/>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9/25/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1735589966"/>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Total Fromage | Intermarche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358974">
                <a:tc>
                  <a:txBody>
                    <a:bodyPr/>
                    <a:lstStyle/>
                    <a:p>
                      <a:pPr algn="ctr">
                        <a:defRPr sz="900">
                          <a:latin typeface="Nexa Book (Body)"/>
                        </a:defRPr>
                      </a:pPr>
                      <a:r>
                        <a:rPr sz="900">
                          <a:latin typeface="Nexa Book (Body)"/>
                        </a:rPr>
                        <a:t>1</a:t>
                      </a:r>
                    </a:p>
                  </a:txBody>
                  <a:tcPr marL="36000" marR="36000" marT="4763" marB="0" anchor="ctr">
                    <a:solidFill>
                      <a:srgbClr val="FFBFBF"/>
                    </a:solidFill>
                  </a:tcPr>
                </a:tc>
                <a:tc>
                  <a:txBody>
                    <a:bodyPr/>
                    <a:lstStyle/>
                    <a:p>
                      <a:pPr algn="l">
                        <a:defRPr sz="900">
                          <a:latin typeface="Nexa Book (Body)"/>
                        </a:defRPr>
                      </a:pPr>
                      <a:r>
                        <a:rPr sz="900">
                          <a:latin typeface="Nexa Book (Body)"/>
                        </a:rPr>
                        <a:t>Private Label/Soft Cheese</a:t>
                      </a:r>
                    </a:p>
                  </a:txBody>
                  <a:tcPr marL="36000" marR="36000" marT="4763" marB="0" anchor="ctr">
                    <a:solidFill>
                      <a:srgbClr val="FFBFBF"/>
                    </a:solidFill>
                  </a:tcPr>
                </a:tc>
                <a:extLst>
                  <a:ext uri="{0D108BD9-81ED-4DB2-BD59-A6C34878D82A}">
                    <a16:rowId xmlns:a16="http://schemas.microsoft.com/office/drawing/2014/main" val="264026324"/>
                  </a:ext>
                </a:extLst>
              </a:tr>
              <a:tr h="358974">
                <a:tc>
                  <a:txBody>
                    <a:bodyPr/>
                    <a:lstStyle/>
                    <a:p>
                      <a:pPr algn="ctr">
                        <a:defRPr sz="900">
                          <a:latin typeface="Nexa Book (Body)"/>
                        </a:defRPr>
                      </a:pPr>
                      <a:r>
                        <a:rPr sz="900">
                          <a:latin typeface="Nexa Book (Body)"/>
                        </a:rPr>
                        <a:t>2</a:t>
                      </a:r>
                    </a:p>
                  </a:txBody>
                  <a:tcPr marL="36000" marR="36000" marT="4763" marB="0" anchor="ctr">
                    <a:solidFill>
                      <a:srgbClr val="FFBFBF"/>
                    </a:solidFill>
                  </a:tcPr>
                </a:tc>
                <a:tc>
                  <a:txBody>
                    <a:bodyPr/>
                    <a:lstStyle/>
                    <a:p>
                      <a:pPr algn="l">
                        <a:defRPr sz="900">
                          <a:latin typeface="Nexa Book (Body)"/>
                        </a:defRPr>
                      </a:pPr>
                      <a:r>
                        <a:rPr sz="900">
                          <a:latin typeface="Nexa Book (Body)"/>
                        </a:rPr>
                        <a:t>President/Soft Cheese</a:t>
                      </a:r>
                    </a:p>
                  </a:txBody>
                  <a:tcPr marL="36000" marR="36000" marT="4763" marB="0" anchor="ctr">
                    <a:solidFill>
                      <a:srgbClr val="FFBFBF"/>
                    </a:solidFill>
                  </a:tcPr>
                </a:tc>
                <a:extLst>
                  <a:ext uri="{0D108BD9-81ED-4DB2-BD59-A6C34878D82A}">
                    <a16:rowId xmlns:a16="http://schemas.microsoft.com/office/drawing/2014/main" val="613793393"/>
                  </a:ext>
                </a:extLst>
              </a:tr>
              <a:tr h="358974">
                <a:tc>
                  <a:txBody>
                    <a:bodyPr/>
                    <a:lstStyle/>
                    <a:p>
                      <a:pPr algn="ctr">
                        <a:defRPr sz="900">
                          <a:latin typeface="Nexa Book (Body)"/>
                        </a:defRPr>
                      </a:pPr>
                      <a:r>
                        <a:rPr sz="900">
                          <a:latin typeface="Nexa Book (Body)"/>
                        </a:rPr>
                        <a:t>3</a:t>
                      </a:r>
                    </a:p>
                  </a:txBody>
                  <a:tcPr marL="36000" marR="36000" marT="4763" marB="0" anchor="ctr">
                    <a:solidFill>
                      <a:srgbClr val="FFBFBF"/>
                    </a:solidFill>
                  </a:tcPr>
                </a:tc>
                <a:tc>
                  <a:txBody>
                    <a:bodyPr/>
                    <a:lstStyle/>
                    <a:p>
                      <a:pPr algn="l">
                        <a:defRPr sz="900">
                          <a:latin typeface="Nexa Book (Body)"/>
                        </a:defRPr>
                      </a:pPr>
                      <a:r>
                        <a:rPr sz="900">
                          <a:latin typeface="Nexa Book (Body)"/>
                        </a:rPr>
                        <a:t>Soignon/Soft Cheese</a:t>
                      </a:r>
                    </a:p>
                  </a:txBody>
                  <a:tcPr marL="36000" marR="36000" marT="4763" marB="0" anchor="ctr">
                    <a:solidFill>
                      <a:srgbClr val="FFBFBF"/>
                    </a:solidFill>
                  </a:tcPr>
                </a:tc>
                <a:extLst>
                  <a:ext uri="{0D108BD9-81ED-4DB2-BD59-A6C34878D82A}">
                    <a16:rowId xmlns:a16="http://schemas.microsoft.com/office/drawing/2014/main" val="4246246309"/>
                  </a:ext>
                </a:extLst>
              </a:tr>
              <a:tr h="358974">
                <a:tc>
                  <a:txBody>
                    <a:bodyPr/>
                    <a:lstStyle/>
                    <a:p>
                      <a:pPr algn="ctr">
                        <a:defRPr sz="900">
                          <a:latin typeface="Nexa Book (Body)"/>
                        </a:defRPr>
                      </a:pPr>
                      <a:r>
                        <a:rPr sz="900">
                          <a:latin typeface="Nexa Book (Body)"/>
                        </a:rPr>
                        <a:t>4</a:t>
                      </a:r>
                    </a:p>
                  </a:txBody>
                  <a:tcPr marL="36000" marR="36000" marT="4763" marB="0" anchor="ctr">
                    <a:solidFill>
                      <a:srgbClr val="CBEAE7"/>
                    </a:solidFill>
                  </a:tcPr>
                </a:tc>
                <a:tc>
                  <a:txBody>
                    <a:bodyPr/>
                    <a:lstStyle/>
                    <a:p>
                      <a:pPr algn="l">
                        <a:defRPr sz="900">
                          <a:latin typeface="Nexa Book (Body)"/>
                        </a:defRPr>
                      </a:pPr>
                      <a:r>
                        <a:rPr sz="900">
                          <a:latin typeface="Nexa Book (Body)"/>
                        </a:rPr>
                        <a:t>All Others/Soft Cheese</a:t>
                      </a:r>
                    </a:p>
                  </a:txBody>
                  <a:tcPr marL="36000" marR="36000" marT="4763" marB="0" anchor="ctr">
                    <a:solidFill>
                      <a:srgbClr val="CBEAE7"/>
                    </a:solidFill>
                  </a:tcPr>
                </a:tc>
                <a:extLst>
                  <a:ext uri="{0D108BD9-81ED-4DB2-BD59-A6C34878D82A}">
                    <a16:rowId xmlns:a16="http://schemas.microsoft.com/office/drawing/2014/main" val="418503086"/>
                  </a:ext>
                </a:extLst>
              </a:tr>
              <a:tr h="358974">
                <a:tc>
                  <a:txBody>
                    <a:bodyPr/>
                    <a:lstStyle/>
                    <a:p>
                      <a:pPr algn="ctr">
                        <a:defRPr sz="900">
                          <a:latin typeface="Nexa Book (Body)"/>
                        </a:defRPr>
                      </a:pPr>
                      <a:r>
                        <a:rPr sz="900">
                          <a:latin typeface="Nexa Book (Body)"/>
                        </a:rPr>
                        <a:t>5</a:t>
                      </a:r>
                    </a:p>
                  </a:txBody>
                  <a:tcPr marL="36000" marR="36000" marT="4763" marB="0" anchor="ctr">
                    <a:solidFill>
                      <a:srgbClr val="CBEAE7"/>
                    </a:solidFill>
                  </a:tcPr>
                </a:tc>
                <a:tc>
                  <a:txBody>
                    <a:bodyPr/>
                    <a:lstStyle/>
                    <a:p>
                      <a:pPr algn="l">
                        <a:defRPr sz="900">
                          <a:latin typeface="Nexa Book (Body)"/>
                        </a:defRPr>
                      </a:pPr>
                      <a:r>
                        <a:rPr sz="900">
                          <a:latin typeface="Nexa Book (Body)"/>
                        </a:rPr>
                        <a:t>St Moret/Soft Cheese</a:t>
                      </a:r>
                    </a:p>
                  </a:txBody>
                  <a:tcPr marL="36000" marR="36000" marT="4763" marB="0" anchor="ctr">
                    <a:solidFill>
                      <a:srgbClr val="CBEAE7"/>
                    </a:solidFill>
                  </a:tcPr>
                </a:tc>
                <a:extLst>
                  <a:ext uri="{0D108BD9-81ED-4DB2-BD59-A6C34878D82A}">
                    <a16:rowId xmlns:a16="http://schemas.microsoft.com/office/drawing/2014/main" val="381854689"/>
                  </a:ext>
                </a:extLst>
              </a:tr>
              <a:tr h="358974">
                <a:tc>
                  <a:txBody>
                    <a:bodyPr/>
                    <a:lstStyle/>
                    <a:p>
                      <a:pPr algn="ctr">
                        <a:defRPr sz="900">
                          <a:latin typeface="Nexa Book (Body)"/>
                        </a:defRPr>
                      </a:pPr>
                      <a:r>
                        <a:rPr sz="900">
                          <a:latin typeface="Nexa Book (Body)"/>
                        </a:rPr>
                        <a:t>6</a:t>
                      </a:r>
                    </a:p>
                  </a:txBody>
                  <a:tcPr marL="36000" marR="36000" marT="4763" marB="0" anchor="ctr">
                    <a:solidFill>
                      <a:srgbClr val="FFBFBF"/>
                    </a:solidFill>
                  </a:tcPr>
                </a:tc>
                <a:tc>
                  <a:txBody>
                    <a:bodyPr/>
                    <a:lstStyle/>
                    <a:p>
                      <a:pPr algn="l">
                        <a:defRPr sz="900">
                          <a:latin typeface="Nexa Book (Body)"/>
                        </a:defRPr>
                      </a:pPr>
                      <a:r>
                        <a:rPr sz="900">
                          <a:latin typeface="Nexa Book (Body)"/>
                        </a:rPr>
                        <a:t>Caprice Des Dieux/Soft Cheese</a:t>
                      </a:r>
                    </a:p>
                  </a:txBody>
                  <a:tcPr marL="36000" marR="36000" marT="4763" marB="0" anchor="ctr">
                    <a:solidFill>
                      <a:srgbClr val="FFBFBF"/>
                    </a:solidFill>
                  </a:tcPr>
                </a:tc>
                <a:extLst>
                  <a:ext uri="{0D108BD9-81ED-4DB2-BD59-A6C34878D82A}">
                    <a16:rowId xmlns:a16="http://schemas.microsoft.com/office/drawing/2014/main" val="362768916"/>
                  </a:ext>
                </a:extLst>
              </a:tr>
              <a:tr h="358974">
                <a:tc>
                  <a:txBody>
                    <a:bodyPr/>
                    <a:lstStyle/>
                    <a:p>
                      <a:pPr algn="ctr">
                        <a:defRPr sz="900">
                          <a:latin typeface="Nexa Book (Body)"/>
                        </a:defRPr>
                      </a:pPr>
                      <a:r>
                        <a:rPr sz="900">
                          <a:latin typeface="Nexa Book (Body)"/>
                        </a:rPr>
                        <a:t>7</a:t>
                      </a:r>
                    </a:p>
                  </a:txBody>
                  <a:tcPr marL="36000" marR="36000" marT="4763" marB="0" anchor="ctr">
                    <a:solidFill>
                      <a:srgbClr val="CBEAE7"/>
                    </a:solidFill>
                  </a:tcPr>
                </a:tc>
                <a:tc>
                  <a:txBody>
                    <a:bodyPr/>
                    <a:lstStyle/>
                    <a:p>
                      <a:pPr algn="l">
                        <a:defRPr sz="900">
                          <a:latin typeface="Nexa Book (Body)"/>
                        </a:defRPr>
                      </a:pPr>
                      <a:r>
                        <a:rPr sz="900">
                          <a:latin typeface="Nexa Book (Body)"/>
                        </a:rPr>
                        <a:t>La Vache Qui Rit/Soft Cheese</a:t>
                      </a:r>
                    </a:p>
                  </a:txBody>
                  <a:tcPr marL="36000" marR="36000" marT="4763" marB="0" anchor="ctr">
                    <a:solidFill>
                      <a:srgbClr val="CBEAE7"/>
                    </a:solidFill>
                  </a:tcPr>
                </a:tc>
                <a:extLst>
                  <a:ext uri="{0D108BD9-81ED-4DB2-BD59-A6C34878D82A}">
                    <a16:rowId xmlns:a16="http://schemas.microsoft.com/office/drawing/2014/main" val="1139766948"/>
                  </a:ext>
                </a:extLst>
              </a:tr>
              <a:tr h="358974">
                <a:tc>
                  <a:txBody>
                    <a:bodyPr/>
                    <a:lstStyle/>
                    <a:p>
                      <a:pPr algn="ctr">
                        <a:defRPr sz="900">
                          <a:latin typeface="Nexa Book (Body)"/>
                        </a:defRPr>
                      </a:pPr>
                      <a:r>
                        <a:rPr sz="900">
                          <a:latin typeface="Nexa Book (Body)"/>
                        </a:rPr>
                        <a:t>8</a:t>
                      </a:r>
                    </a:p>
                  </a:txBody>
                  <a:tcPr marL="36000" marR="36000" marT="4763" marB="0" anchor="ctr">
                    <a:solidFill>
                      <a:srgbClr val="F2F2F2"/>
                    </a:solidFill>
                  </a:tcPr>
                </a:tc>
                <a:tc>
                  <a:txBody>
                    <a:bodyPr/>
                    <a:lstStyle/>
                    <a:p>
                      <a:pPr algn="l">
                        <a:defRPr sz="900">
                          <a:latin typeface="Nexa Book (Body)"/>
                        </a:defRPr>
                      </a:pPr>
                      <a:r>
                        <a:rPr sz="900">
                          <a:latin typeface="Nexa Book (Body)"/>
                        </a:rPr>
                        <a:t>Kiri/Soft Cheese</a:t>
                      </a:r>
                    </a:p>
                  </a:txBody>
                  <a:tcPr marL="36000" marR="36000" marT="4763" marB="0" anchor="ctr">
                    <a:solidFill>
                      <a:srgbClr val="F2F2F2"/>
                    </a:solidFill>
                  </a:tcPr>
                </a:tc>
                <a:extLst>
                  <a:ext uri="{0D108BD9-81ED-4DB2-BD59-A6C34878D82A}">
                    <a16:rowId xmlns:a16="http://schemas.microsoft.com/office/drawing/2014/main" val="1687090376"/>
                  </a:ext>
                </a:extLst>
              </a:tr>
              <a:tr h="358974">
                <a:tc>
                  <a:txBody>
                    <a:bodyPr/>
                    <a:lstStyle/>
                    <a:p>
                      <a:pPr algn="ctr">
                        <a:defRPr sz="900">
                          <a:latin typeface="Nexa Book (Body)"/>
                        </a:defRPr>
                      </a:pPr>
                      <a:r>
                        <a:rPr sz="900">
                          <a:latin typeface="Nexa Book (Body)"/>
                        </a:rPr>
                        <a:t>9</a:t>
                      </a:r>
                    </a:p>
                  </a:txBody>
                  <a:tcPr marL="36000" marR="36000" marT="4763" marB="0" anchor="ctr">
                    <a:solidFill>
                      <a:srgbClr val="F2F2F2"/>
                    </a:solidFill>
                  </a:tcPr>
                </a:tc>
                <a:tc>
                  <a:txBody>
                    <a:bodyPr/>
                    <a:lstStyle/>
                    <a:p>
                      <a:pPr algn="l">
                        <a:defRPr sz="900">
                          <a:latin typeface="Nexa Book (Body)"/>
                        </a:defRPr>
                      </a:pPr>
                      <a:r>
                        <a:rPr sz="900">
                          <a:latin typeface="Nexa Book (Body)"/>
                        </a:rPr>
                        <a:t>Boursin/Soft Cheese</a:t>
                      </a:r>
                    </a:p>
                  </a:txBody>
                  <a:tcPr marL="36000" marR="36000" marT="4763" marB="0" anchor="ctr">
                    <a:solidFill>
                      <a:srgbClr val="F2F2F2"/>
                    </a:solidFill>
                  </a:tcPr>
                </a:tc>
                <a:extLst>
                  <a:ext uri="{0D108BD9-81ED-4DB2-BD59-A6C34878D82A}">
                    <a16:rowId xmlns:a16="http://schemas.microsoft.com/office/drawing/2014/main" val="1182192680"/>
                  </a:ext>
                </a:extLst>
              </a:tr>
              <a:tr h="358974">
                <a:tc>
                  <a:txBody>
                    <a:bodyPr/>
                    <a:lstStyle/>
                    <a:p>
                      <a:pPr algn="ctr">
                        <a:defRPr sz="900">
                          <a:latin typeface="Nexa Book (Body)"/>
                        </a:defRPr>
                      </a:pPr>
                      <a:r>
                        <a:rPr sz="900">
                          <a:latin typeface="Nexa Book (Body)"/>
                        </a:rPr>
                        <a:t>10</a:t>
                      </a:r>
                    </a:p>
                  </a:txBody>
                  <a:tcPr marL="36000" marR="36000" marT="4763" marB="0" anchor="ctr">
                    <a:solidFill>
                      <a:srgbClr val="FFBFBF"/>
                    </a:solidFill>
                  </a:tcPr>
                </a:tc>
                <a:tc>
                  <a:txBody>
                    <a:bodyPr/>
                    <a:lstStyle/>
                    <a:p>
                      <a:pPr algn="l">
                        <a:defRPr sz="900">
                          <a:latin typeface="Nexa Book (Body)"/>
                        </a:defRPr>
                      </a:pPr>
                      <a:r>
                        <a:rPr sz="900">
                          <a:latin typeface="Nexa Book (Body)"/>
                        </a:rPr>
                        <a:t>Boursin/Aperitif</a:t>
                      </a:r>
                    </a:p>
                  </a:txBody>
                  <a:tcPr marL="36000" marR="36000" marT="4763" marB="0" anchor="ctr">
                    <a:solidFill>
                      <a:srgbClr val="FFBFBF"/>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9/25/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3679797226"/>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Total Fromage | NATIONAL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28"/>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224358">
                <a:tc>
                  <a:txBody>
                    <a:bodyPr/>
                    <a:lstStyle/>
                    <a:p>
                      <a:pPr algn="ctr">
                        <a:defRPr sz="900">
                          <a:latin typeface="Nexa Book (Body)"/>
                        </a:defRPr>
                      </a:pPr>
                      <a:r>
                        <a:rPr sz="900">
                          <a:latin typeface="Nexa Book (Body)"/>
                        </a:rPr>
                        <a:t>1</a:t>
                      </a:r>
                    </a:p>
                  </a:txBody>
                  <a:tcPr marL="36000" marR="36000" marT="4763" marB="0" anchor="ctr">
                    <a:solidFill>
                      <a:srgbClr val="CBEAE7"/>
                    </a:solidFill>
                  </a:tcPr>
                </a:tc>
                <a:tc>
                  <a:txBody>
                    <a:bodyPr/>
                    <a:lstStyle/>
                    <a:p>
                      <a:pPr algn="l">
                        <a:defRPr sz="900">
                          <a:latin typeface="Nexa Book (Body)"/>
                        </a:defRPr>
                      </a:pPr>
                      <a:r>
                        <a:rPr sz="900">
                          <a:latin typeface="Nexa Book (Body)"/>
                        </a:rPr>
                        <a:t>Private Label/Salade</a:t>
                      </a:r>
                    </a:p>
                  </a:txBody>
                  <a:tcPr marL="36000" marR="36000" marT="4763" marB="0" anchor="ctr">
                    <a:solidFill>
                      <a:srgbClr val="CBEAE7"/>
                    </a:solidFill>
                  </a:tcPr>
                </a:tc>
                <a:extLst>
                  <a:ext uri="{0D108BD9-81ED-4DB2-BD59-A6C34878D82A}">
                    <a16:rowId xmlns:a16="http://schemas.microsoft.com/office/drawing/2014/main" val="2860330723"/>
                  </a:ext>
                </a:extLst>
              </a:tr>
              <a:tr h="224358">
                <a:tc>
                  <a:txBody>
                    <a:bodyPr/>
                    <a:lstStyle/>
                    <a:p>
                      <a:pPr algn="ctr">
                        <a:defRPr sz="900">
                          <a:latin typeface="Nexa Book (Body)"/>
                        </a:defRPr>
                      </a:pPr>
                      <a:r>
                        <a:rPr sz="900">
                          <a:latin typeface="Nexa Book (Body)"/>
                        </a:rPr>
                        <a:t>2</a:t>
                      </a:r>
                    </a:p>
                  </a:txBody>
                  <a:tcPr marL="36000" marR="36000" marT="4763" marB="0" anchor="ctr">
                    <a:solidFill>
                      <a:srgbClr val="FFBFBF"/>
                    </a:solidFill>
                  </a:tcPr>
                </a:tc>
                <a:tc>
                  <a:txBody>
                    <a:bodyPr/>
                    <a:lstStyle/>
                    <a:p>
                      <a:pPr algn="l">
                        <a:defRPr sz="900">
                          <a:latin typeface="Nexa Book (Body)"/>
                        </a:defRPr>
                      </a:pPr>
                      <a:r>
                        <a:rPr sz="900">
                          <a:latin typeface="Nexa Book (Body)"/>
                        </a:rPr>
                        <a:t>Private Label/Classique</a:t>
                      </a:r>
                    </a:p>
                  </a:txBody>
                  <a:tcPr marL="36000" marR="36000" marT="4763" marB="0" anchor="ctr">
                    <a:solidFill>
                      <a:srgbClr val="FFBFBF"/>
                    </a:solidFill>
                  </a:tcPr>
                </a:tc>
                <a:extLst>
                  <a:ext uri="{0D108BD9-81ED-4DB2-BD59-A6C34878D82A}">
                    <a16:rowId xmlns:a16="http://schemas.microsoft.com/office/drawing/2014/main" val="98934626"/>
                  </a:ext>
                </a:extLst>
              </a:tr>
              <a:tr h="224358">
                <a:tc>
                  <a:txBody>
                    <a:bodyPr/>
                    <a:lstStyle/>
                    <a:p>
                      <a:pPr algn="ctr">
                        <a:defRPr sz="900">
                          <a:latin typeface="Nexa Book (Body)"/>
                        </a:defRPr>
                      </a:pPr>
                      <a:r>
                        <a:rPr sz="900">
                          <a:latin typeface="Nexa Book (Body)"/>
                        </a:rPr>
                        <a:t>3</a:t>
                      </a:r>
                    </a:p>
                  </a:txBody>
                  <a:tcPr marL="36000" marR="36000" marT="4763" marB="0" anchor="ctr">
                    <a:solidFill>
                      <a:srgbClr val="F2F2F2"/>
                    </a:solidFill>
                  </a:tcPr>
                </a:tc>
                <a:tc>
                  <a:txBody>
                    <a:bodyPr/>
                    <a:lstStyle/>
                    <a:p>
                      <a:pPr algn="l">
                        <a:defRPr sz="900">
                          <a:latin typeface="Nexa Book (Body)"/>
                        </a:defRPr>
                      </a:pPr>
                      <a:r>
                        <a:rPr sz="900">
                          <a:latin typeface="Nexa Book (Body)"/>
                        </a:rPr>
                        <a:t>Private Label/Chevre</a:t>
                      </a:r>
                    </a:p>
                  </a:txBody>
                  <a:tcPr marL="36000" marR="36000" marT="4763" marB="0" anchor="ctr">
                    <a:solidFill>
                      <a:srgbClr val="F2F2F2"/>
                    </a:solidFill>
                  </a:tcPr>
                </a:tc>
                <a:extLst>
                  <a:ext uri="{0D108BD9-81ED-4DB2-BD59-A6C34878D82A}">
                    <a16:rowId xmlns:a16="http://schemas.microsoft.com/office/drawing/2014/main" val="3049926520"/>
                  </a:ext>
                </a:extLst>
              </a:tr>
              <a:tr h="224358">
                <a:tc>
                  <a:txBody>
                    <a:bodyPr/>
                    <a:lstStyle/>
                    <a:p>
                      <a:pPr algn="ctr">
                        <a:defRPr sz="900">
                          <a:latin typeface="Nexa Book (Body)"/>
                        </a:defRPr>
                      </a:pPr>
                      <a:r>
                        <a:rPr sz="900">
                          <a:latin typeface="Nexa Book (Body)"/>
                        </a:rPr>
                        <a:t>4</a:t>
                      </a:r>
                    </a:p>
                  </a:txBody>
                  <a:tcPr marL="36000" marR="36000" marT="4763" marB="0" anchor="ctr">
                    <a:solidFill>
                      <a:srgbClr val="FFBFBF"/>
                    </a:solidFill>
                  </a:tcPr>
                </a:tc>
                <a:tc>
                  <a:txBody>
                    <a:bodyPr/>
                    <a:lstStyle/>
                    <a:p>
                      <a:pPr algn="l">
                        <a:defRPr sz="900">
                          <a:latin typeface="Nexa Book (Body)"/>
                        </a:defRPr>
                      </a:pPr>
                      <a:r>
                        <a:rPr sz="900">
                          <a:latin typeface="Nexa Book (Body)"/>
                        </a:rPr>
                        <a:t>Soignon/Chevre</a:t>
                      </a:r>
                    </a:p>
                  </a:txBody>
                  <a:tcPr marL="36000" marR="36000" marT="4763" marB="0" anchor="ctr">
                    <a:solidFill>
                      <a:srgbClr val="FFBFBF"/>
                    </a:solidFill>
                  </a:tcPr>
                </a:tc>
                <a:extLst>
                  <a:ext uri="{0D108BD9-81ED-4DB2-BD59-A6C34878D82A}">
                    <a16:rowId xmlns:a16="http://schemas.microsoft.com/office/drawing/2014/main" val="3518559538"/>
                  </a:ext>
                </a:extLst>
              </a:tr>
              <a:tr h="224358">
                <a:tc>
                  <a:txBody>
                    <a:bodyPr/>
                    <a:lstStyle/>
                    <a:p>
                      <a:pPr algn="ctr">
                        <a:defRPr sz="900">
                          <a:latin typeface="Nexa Book (Body)"/>
                        </a:defRPr>
                      </a:pPr>
                      <a:r>
                        <a:rPr sz="900">
                          <a:latin typeface="Nexa Book (Body)"/>
                        </a:rPr>
                        <a:t>5</a:t>
                      </a:r>
                    </a:p>
                  </a:txBody>
                  <a:tcPr marL="36000" marR="36000" marT="4763" marB="0" anchor="ctr">
                    <a:solidFill>
                      <a:srgbClr val="CBEAE7"/>
                    </a:solidFill>
                  </a:tcPr>
                </a:tc>
                <a:tc>
                  <a:txBody>
                    <a:bodyPr/>
                    <a:lstStyle/>
                    <a:p>
                      <a:pPr algn="l">
                        <a:defRPr sz="900">
                          <a:latin typeface="Nexa Book (Body)"/>
                        </a:defRPr>
                      </a:pPr>
                      <a:r>
                        <a:rPr sz="900">
                          <a:latin typeface="Nexa Book (Body)"/>
                        </a:rPr>
                        <a:t>St Moret/Frais A Tartiner</a:t>
                      </a:r>
                    </a:p>
                  </a:txBody>
                  <a:tcPr marL="36000" marR="36000" marT="4763" marB="0" anchor="ctr">
                    <a:solidFill>
                      <a:srgbClr val="CBEAE7"/>
                    </a:solidFill>
                  </a:tcPr>
                </a:tc>
                <a:extLst>
                  <a:ext uri="{0D108BD9-81ED-4DB2-BD59-A6C34878D82A}">
                    <a16:rowId xmlns:a16="http://schemas.microsoft.com/office/drawing/2014/main" val="3886752891"/>
                  </a:ext>
                </a:extLst>
              </a:tr>
              <a:tr h="224358">
                <a:tc>
                  <a:txBody>
                    <a:bodyPr/>
                    <a:lstStyle/>
                    <a:p>
                      <a:pPr algn="ctr">
                        <a:defRPr sz="900">
                          <a:latin typeface="Nexa Book (Body)"/>
                        </a:defRPr>
                      </a:pPr>
                      <a:r>
                        <a:rPr sz="900">
                          <a:latin typeface="Nexa Book (Body)"/>
                        </a:rPr>
                        <a:t>6</a:t>
                      </a:r>
                    </a:p>
                  </a:txBody>
                  <a:tcPr marL="36000" marR="36000" marT="4763" marB="0" anchor="ctr">
                    <a:solidFill>
                      <a:srgbClr val="FFBFBF"/>
                    </a:solidFill>
                  </a:tcPr>
                </a:tc>
                <a:tc>
                  <a:txBody>
                    <a:bodyPr/>
                    <a:lstStyle/>
                    <a:p>
                      <a:pPr algn="l">
                        <a:defRPr sz="900">
                          <a:latin typeface="Nexa Book (Body)"/>
                        </a:defRPr>
                      </a:pPr>
                      <a:r>
                        <a:rPr sz="900">
                          <a:latin typeface="Nexa Book (Body)"/>
                        </a:rPr>
                        <a:t>Caprice Des Dieux/Classique</a:t>
                      </a:r>
                    </a:p>
                  </a:txBody>
                  <a:tcPr marL="36000" marR="36000" marT="4763" marB="0" anchor="ctr">
                    <a:solidFill>
                      <a:srgbClr val="FFBFBF"/>
                    </a:solidFill>
                  </a:tcPr>
                </a:tc>
                <a:extLst>
                  <a:ext uri="{0D108BD9-81ED-4DB2-BD59-A6C34878D82A}">
                    <a16:rowId xmlns:a16="http://schemas.microsoft.com/office/drawing/2014/main" val="3477306869"/>
                  </a:ext>
                </a:extLst>
              </a:tr>
              <a:tr h="224358">
                <a:tc>
                  <a:txBody>
                    <a:bodyPr/>
                    <a:lstStyle/>
                    <a:p>
                      <a:pPr algn="ctr">
                        <a:defRPr sz="900">
                          <a:latin typeface="Nexa Book (Body)"/>
                        </a:defRPr>
                      </a:pPr>
                      <a:r>
                        <a:rPr sz="900">
                          <a:latin typeface="Nexa Book (Body)"/>
                        </a:rPr>
                        <a:t>7</a:t>
                      </a:r>
                    </a:p>
                  </a:txBody>
                  <a:tcPr marL="36000" marR="36000" marT="4763" marB="0" anchor="ctr">
                    <a:solidFill>
                      <a:srgbClr val="F2F2F2"/>
                    </a:solidFill>
                  </a:tcPr>
                </a:tc>
                <a:tc>
                  <a:txBody>
                    <a:bodyPr/>
                    <a:lstStyle/>
                    <a:p>
                      <a:pPr algn="l">
                        <a:defRPr sz="900">
                          <a:latin typeface="Nexa Book (Body)"/>
                        </a:defRPr>
                      </a:pPr>
                      <a:r>
                        <a:rPr sz="900">
                          <a:latin typeface="Nexa Book (Body)"/>
                        </a:rPr>
                        <a:t>La Vache Qui Rit/Enfant</a:t>
                      </a:r>
                    </a:p>
                  </a:txBody>
                  <a:tcPr marL="36000" marR="36000" marT="4763" marB="0" anchor="ctr">
                    <a:solidFill>
                      <a:srgbClr val="F2F2F2"/>
                    </a:solidFill>
                  </a:tcPr>
                </a:tc>
                <a:extLst>
                  <a:ext uri="{0D108BD9-81ED-4DB2-BD59-A6C34878D82A}">
                    <a16:rowId xmlns:a16="http://schemas.microsoft.com/office/drawing/2014/main" val="264026324"/>
                  </a:ext>
                </a:extLst>
              </a:tr>
              <a:tr h="224358">
                <a:tc>
                  <a:txBody>
                    <a:bodyPr/>
                    <a:lstStyle/>
                    <a:p>
                      <a:pPr algn="ctr">
                        <a:defRPr sz="900">
                          <a:latin typeface="Nexa Book (Body)"/>
                        </a:defRPr>
                      </a:pPr>
                      <a:r>
                        <a:rPr sz="900">
                          <a:latin typeface="Nexa Book (Body)"/>
                        </a:rPr>
                        <a:t>8</a:t>
                      </a:r>
                    </a:p>
                  </a:txBody>
                  <a:tcPr marL="36000" marR="36000" marT="4763" marB="0" anchor="ctr">
                    <a:solidFill>
                      <a:srgbClr val="F2F2F2"/>
                    </a:solidFill>
                  </a:tcPr>
                </a:tc>
                <a:tc>
                  <a:txBody>
                    <a:bodyPr/>
                    <a:lstStyle/>
                    <a:p>
                      <a:pPr algn="l">
                        <a:defRPr sz="900">
                          <a:latin typeface="Nexa Book (Body)"/>
                        </a:defRPr>
                      </a:pPr>
                      <a:r>
                        <a:rPr sz="900">
                          <a:latin typeface="Nexa Book (Body)"/>
                        </a:rPr>
                        <a:t>Private Label/Frais A Tartiner</a:t>
                      </a:r>
                    </a:p>
                  </a:txBody>
                  <a:tcPr marL="36000" marR="36000" marT="4763" marB="0" anchor="ctr">
                    <a:solidFill>
                      <a:srgbClr val="F2F2F2"/>
                    </a:solidFill>
                  </a:tcPr>
                </a:tc>
                <a:extLst>
                  <a:ext uri="{0D108BD9-81ED-4DB2-BD59-A6C34878D82A}">
                    <a16:rowId xmlns:a16="http://schemas.microsoft.com/office/drawing/2014/main" val="613793393"/>
                  </a:ext>
                </a:extLst>
              </a:tr>
              <a:tr h="224358">
                <a:tc>
                  <a:txBody>
                    <a:bodyPr/>
                    <a:lstStyle/>
                    <a:p>
                      <a:pPr algn="ctr">
                        <a:defRPr sz="900">
                          <a:latin typeface="Nexa Book (Body)"/>
                        </a:defRPr>
                      </a:pPr>
                      <a:r>
                        <a:rPr sz="900">
                          <a:latin typeface="Nexa Book (Body)"/>
                        </a:rPr>
                        <a:t>9</a:t>
                      </a:r>
                    </a:p>
                  </a:txBody>
                  <a:tcPr marL="36000" marR="36000" marT="4763" marB="0" anchor="ctr">
                    <a:solidFill>
                      <a:srgbClr val="FFBFBF"/>
                    </a:solidFill>
                  </a:tcPr>
                </a:tc>
                <a:tc>
                  <a:txBody>
                    <a:bodyPr/>
                    <a:lstStyle/>
                    <a:p>
                      <a:pPr algn="l">
                        <a:defRPr sz="900">
                          <a:latin typeface="Nexa Book (Body)"/>
                        </a:defRPr>
                      </a:pPr>
                      <a:r>
                        <a:rPr sz="900">
                          <a:latin typeface="Nexa Book (Body)"/>
                        </a:rPr>
                        <a:t>Kiri/Enfant</a:t>
                      </a:r>
                    </a:p>
                  </a:txBody>
                  <a:tcPr marL="36000" marR="36000" marT="4763" marB="0" anchor="ctr">
                    <a:solidFill>
                      <a:srgbClr val="FFBFBF"/>
                    </a:solidFill>
                  </a:tcPr>
                </a:tc>
                <a:extLst>
                  <a:ext uri="{0D108BD9-81ED-4DB2-BD59-A6C34878D82A}">
                    <a16:rowId xmlns:a16="http://schemas.microsoft.com/office/drawing/2014/main" val="4246246309"/>
                  </a:ext>
                </a:extLst>
              </a:tr>
              <a:tr h="224358">
                <a:tc>
                  <a:txBody>
                    <a:bodyPr/>
                    <a:lstStyle/>
                    <a:p>
                      <a:pPr algn="ctr">
                        <a:defRPr sz="900">
                          <a:latin typeface="Nexa Book (Body)"/>
                        </a:defRPr>
                      </a:pPr>
                      <a:r>
                        <a:rPr sz="900">
                          <a:latin typeface="Nexa Book (Body)"/>
                        </a:rPr>
                        <a:t>10</a:t>
                      </a:r>
                    </a:p>
                  </a:txBody>
                  <a:tcPr marL="36000" marR="36000" marT="4763" marB="0" anchor="ctr">
                    <a:solidFill>
                      <a:srgbClr val="FFBFBF"/>
                    </a:solidFill>
                  </a:tcPr>
                </a:tc>
                <a:tc>
                  <a:txBody>
                    <a:bodyPr/>
                    <a:lstStyle/>
                    <a:p>
                      <a:pPr algn="l">
                        <a:defRPr sz="900">
                          <a:latin typeface="Nexa Book (Body)"/>
                        </a:defRPr>
                      </a:pPr>
                      <a:r>
                        <a:rPr sz="900">
                          <a:latin typeface="Nexa Book (Body)"/>
                        </a:rPr>
                        <a:t>Private Label/Enfant</a:t>
                      </a:r>
                    </a:p>
                  </a:txBody>
                  <a:tcPr marL="36000" marR="36000" marT="4763" marB="0" anchor="ctr">
                    <a:solidFill>
                      <a:srgbClr val="FFBFBF"/>
                    </a:solidFill>
                  </a:tcPr>
                </a:tc>
                <a:extLst>
                  <a:ext uri="{0D108BD9-81ED-4DB2-BD59-A6C34878D82A}">
                    <a16:rowId xmlns:a16="http://schemas.microsoft.com/office/drawing/2014/main" val="418503086"/>
                  </a:ext>
                </a:extLst>
              </a:tr>
              <a:tr h="224358">
                <a:tc>
                  <a:txBody>
                    <a:bodyPr/>
                    <a:lstStyle/>
                    <a:p>
                      <a:pPr algn="ctr">
                        <a:defRPr sz="900">
                          <a:latin typeface="Nexa Book (Body)"/>
                        </a:defRPr>
                      </a:pPr>
                      <a:r>
                        <a:rPr sz="900">
                          <a:latin typeface="Nexa Book (Body)"/>
                        </a:rPr>
                        <a:t>11</a:t>
                      </a:r>
                    </a:p>
                  </a:txBody>
                  <a:tcPr marL="36000" marR="36000" marT="4763" marB="0" anchor="ctr">
                    <a:solidFill>
                      <a:srgbClr val="FFBFBF"/>
                    </a:solidFill>
                  </a:tcPr>
                </a:tc>
                <a:tc>
                  <a:txBody>
                    <a:bodyPr/>
                    <a:lstStyle/>
                    <a:p>
                      <a:pPr algn="l">
                        <a:defRPr sz="900">
                          <a:latin typeface="Nexa Book (Body)"/>
                        </a:defRPr>
                      </a:pPr>
                      <a:r>
                        <a:rPr sz="900">
                          <a:latin typeface="Nexa Book (Body)"/>
                        </a:rPr>
                        <a:t>Boursin/Frais A Tartiner</a:t>
                      </a:r>
                    </a:p>
                  </a:txBody>
                  <a:tcPr marL="36000" marR="36000" marT="4763" marB="0" anchor="ctr">
                    <a:solidFill>
                      <a:srgbClr val="FFBFBF"/>
                    </a:solidFill>
                  </a:tcPr>
                </a:tc>
                <a:extLst>
                  <a:ext uri="{0D108BD9-81ED-4DB2-BD59-A6C34878D82A}">
                    <a16:rowId xmlns:a16="http://schemas.microsoft.com/office/drawing/2014/main" val="381854689"/>
                  </a:ext>
                </a:extLst>
              </a:tr>
              <a:tr h="224358">
                <a:tc>
                  <a:txBody>
                    <a:bodyPr/>
                    <a:lstStyle/>
                    <a:p>
                      <a:pPr algn="ctr">
                        <a:defRPr sz="900">
                          <a:latin typeface="Nexa Book (Body)"/>
                        </a:defRPr>
                      </a:pPr>
                      <a:r>
                        <a:rPr sz="900">
                          <a:latin typeface="Nexa Book (Body)"/>
                        </a:rPr>
                        <a:t>12</a:t>
                      </a:r>
                    </a:p>
                  </a:txBody>
                  <a:tcPr marL="36000" marR="36000" marT="4763" marB="0" anchor="ctr">
                    <a:solidFill>
                      <a:srgbClr val="FFBFBF"/>
                    </a:solidFill>
                  </a:tcPr>
                </a:tc>
                <a:tc>
                  <a:txBody>
                    <a:bodyPr/>
                    <a:lstStyle/>
                    <a:p>
                      <a:pPr algn="l">
                        <a:defRPr sz="900">
                          <a:latin typeface="Nexa Book (Body)"/>
                        </a:defRPr>
                      </a:pPr>
                      <a:r>
                        <a:rPr sz="900">
                          <a:latin typeface="Nexa Book (Body)"/>
                        </a:rPr>
                        <a:t>Boursin/Aperitif</a:t>
                      </a:r>
                    </a:p>
                  </a:txBody>
                  <a:tcPr marL="36000" marR="36000" marT="4763" marB="0" anchor="ctr">
                    <a:solidFill>
                      <a:srgbClr val="FFBFBF"/>
                    </a:solidFill>
                  </a:tcPr>
                </a:tc>
                <a:extLst>
                  <a:ext uri="{0D108BD9-81ED-4DB2-BD59-A6C34878D82A}">
                    <a16:rowId xmlns:a16="http://schemas.microsoft.com/office/drawing/2014/main" val="362768916"/>
                  </a:ext>
                </a:extLst>
              </a:tr>
              <a:tr h="224358">
                <a:tc>
                  <a:txBody>
                    <a:bodyPr/>
                    <a:lstStyle/>
                    <a:p>
                      <a:pPr algn="ctr">
                        <a:defRPr sz="900">
                          <a:latin typeface="Nexa Book (Body)"/>
                        </a:defRPr>
                      </a:pPr>
                      <a:r>
                        <a:rPr sz="900">
                          <a:latin typeface="Nexa Book (Body)"/>
                        </a:rPr>
                        <a:t>13</a:t>
                      </a:r>
                    </a:p>
                  </a:txBody>
                  <a:tcPr marL="36000" marR="36000" marT="4763" marB="0" anchor="ctr">
                    <a:solidFill>
                      <a:srgbClr val="FFBFBF"/>
                    </a:solidFill>
                  </a:tcPr>
                </a:tc>
                <a:tc>
                  <a:txBody>
                    <a:bodyPr/>
                    <a:lstStyle/>
                    <a:p>
                      <a:pPr algn="l">
                        <a:defRPr sz="900">
                          <a:latin typeface="Nexa Book (Body)"/>
                        </a:defRPr>
                      </a:pPr>
                      <a:r>
                        <a:rPr sz="900">
                          <a:latin typeface="Nexa Book (Body)"/>
                        </a:rPr>
                        <a:t>Boursin/Salade</a:t>
                      </a:r>
                    </a:p>
                  </a:txBody>
                  <a:tcPr marL="36000" marR="36000" marT="4763" marB="0" anchor="ctr">
                    <a:solidFill>
                      <a:srgbClr val="FFBFBF"/>
                    </a:solidFill>
                  </a:tcPr>
                </a:tc>
                <a:extLst>
                  <a:ext uri="{0D108BD9-81ED-4DB2-BD59-A6C34878D82A}">
                    <a16:rowId xmlns:a16="http://schemas.microsoft.com/office/drawing/2014/main" val="1139766948"/>
                  </a:ext>
                </a:extLst>
              </a:tr>
              <a:tr h="224358">
                <a:tc>
                  <a:txBody>
                    <a:bodyPr/>
                    <a:lstStyle/>
                    <a:p>
                      <a:pPr algn="ctr">
                        <a:defRPr sz="900">
                          <a:latin typeface="Nexa Book (Body)"/>
                        </a:defRPr>
                      </a:pPr>
                      <a:r>
                        <a:rPr sz="900">
                          <a:latin typeface="Nexa Book (Body)"/>
                        </a:rPr>
                        <a:t>14</a:t>
                      </a:r>
                    </a:p>
                  </a:txBody>
                  <a:tcPr marL="36000" marR="36000" marT="4763" marB="0" anchor="ctr">
                    <a:solidFill>
                      <a:srgbClr val="FFBFBF"/>
                    </a:solidFill>
                  </a:tcPr>
                </a:tc>
                <a:tc>
                  <a:txBody>
                    <a:bodyPr/>
                    <a:lstStyle/>
                    <a:p>
                      <a:pPr algn="l">
                        <a:defRPr sz="900">
                          <a:latin typeface="Nexa Book (Body)"/>
                        </a:defRPr>
                      </a:pPr>
                      <a:r>
                        <a:rPr sz="900">
                          <a:latin typeface="Nexa Book (Body)"/>
                        </a:rPr>
                        <a:t>Kiri/Frais A Tartiner</a:t>
                      </a:r>
                    </a:p>
                  </a:txBody>
                  <a:tcPr marL="36000" marR="36000" marT="4763" marB="0" anchor="ctr">
                    <a:solidFill>
                      <a:srgbClr val="FFBFBF"/>
                    </a:solidFill>
                  </a:tcPr>
                </a:tc>
                <a:extLst>
                  <a:ext uri="{0D108BD9-81ED-4DB2-BD59-A6C34878D82A}">
                    <a16:rowId xmlns:a16="http://schemas.microsoft.com/office/drawing/2014/main" val="1687090376"/>
                  </a:ext>
                </a:extLst>
              </a:tr>
              <a:tr h="224358">
                <a:tc>
                  <a:txBody>
                    <a:bodyPr/>
                    <a:lstStyle/>
                    <a:p>
                      <a:pPr algn="ctr">
                        <a:defRPr sz="900">
                          <a:latin typeface="Nexa Book (Body)"/>
                        </a:defRPr>
                      </a:pPr>
                      <a:r>
                        <a:rPr sz="900">
                          <a:latin typeface="Nexa Book (Body)"/>
                        </a:rPr>
                        <a:t>15</a:t>
                      </a:r>
                    </a:p>
                  </a:txBody>
                  <a:tcPr marL="36000" marR="36000" marT="4763" marB="0" anchor="ctr">
                    <a:solidFill>
                      <a:srgbClr val="FFBFBF"/>
                    </a:solidFill>
                  </a:tcPr>
                </a:tc>
                <a:tc>
                  <a:txBody>
                    <a:bodyPr/>
                    <a:lstStyle/>
                    <a:p>
                      <a:pPr algn="l">
                        <a:defRPr sz="900">
                          <a:latin typeface="Nexa Book (Body)"/>
                        </a:defRPr>
                      </a:pPr>
                      <a:r>
                        <a:rPr sz="900">
                          <a:latin typeface="Nexa Book (Body)"/>
                        </a:rPr>
                        <a:t>Boursin/Alternative Vegetale</a:t>
                      </a:r>
                    </a:p>
                  </a:txBody>
                  <a:tcPr marL="36000" marR="36000" marT="4763" marB="0" anchor="ctr">
                    <a:solidFill>
                      <a:srgbClr val="FFBFBF"/>
                    </a:solidFill>
                  </a:tcPr>
                </a:tc>
                <a:extLst>
                  <a:ext uri="{0D108BD9-81ED-4DB2-BD59-A6C34878D82A}">
                    <a16:rowId xmlns:a16="http://schemas.microsoft.com/office/drawing/2014/main" val="1182192680"/>
                  </a:ext>
                </a:extLst>
              </a:tr>
              <a:tr h="224358">
                <a:tc>
                  <a:txBody>
                    <a:bodyPr/>
                    <a:lstStyle/>
                    <a:p>
                      <a:pPr algn="ctr">
                        <a:defRPr sz="900">
                          <a:latin typeface="Nexa Book (Body)"/>
                        </a:defRPr>
                      </a:pPr>
                      <a:r>
                        <a:rPr sz="900">
                          <a:latin typeface="Nexa Book (Body)"/>
                        </a:rPr>
                        <a:t>16</a:t>
                      </a:r>
                    </a:p>
                  </a:txBody>
                  <a:tcPr marL="36000" marR="36000" marT="4763" marB="0" anchor="ctr">
                    <a:solidFill>
                      <a:srgbClr val="CBEAE7"/>
                    </a:solidFill>
                  </a:tcPr>
                </a:tc>
                <a:tc>
                  <a:txBody>
                    <a:bodyPr/>
                    <a:lstStyle/>
                    <a:p>
                      <a:pPr algn="l">
                        <a:defRPr sz="900">
                          <a:latin typeface="Nexa Book (Body)"/>
                        </a:defRPr>
                      </a:pPr>
                      <a:r>
                        <a:rPr sz="900">
                          <a:latin typeface="Nexa Book (Body)"/>
                        </a:rPr>
                        <a:t>La Vache Qui Rit/Frais A Tartiner</a:t>
                      </a:r>
                    </a:p>
                  </a:txBody>
                  <a:tcPr marL="36000" marR="36000" marT="4763" marB="0" anchor="ctr">
                    <a:solidFill>
                      <a:srgbClr val="CBEAE7"/>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9/25/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1665485025"/>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Total Fromage | Carrefour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239316">
                <a:tc>
                  <a:txBody>
                    <a:bodyPr/>
                    <a:lstStyle/>
                    <a:p>
                      <a:pPr algn="ctr">
                        <a:defRPr sz="900">
                          <a:latin typeface="Nexa Book (Body)"/>
                        </a:defRPr>
                      </a:pPr>
                      <a:r>
                        <a:rPr sz="900">
                          <a:latin typeface="Nexa Book (Body)"/>
                        </a:rPr>
                        <a:t>1</a:t>
                      </a:r>
                    </a:p>
                  </a:txBody>
                  <a:tcPr marL="36000" marR="36000" marT="4763" marB="0" anchor="ctr">
                    <a:solidFill>
                      <a:srgbClr val="CBEAE7"/>
                    </a:solidFill>
                  </a:tcPr>
                </a:tc>
                <a:tc>
                  <a:txBody>
                    <a:bodyPr/>
                    <a:lstStyle/>
                    <a:p>
                      <a:pPr algn="l">
                        <a:defRPr sz="900">
                          <a:latin typeface="Nexa Book (Body)"/>
                        </a:defRPr>
                      </a:pPr>
                      <a:r>
                        <a:rPr sz="900">
                          <a:latin typeface="Nexa Book (Body)"/>
                        </a:rPr>
                        <a:t>Private Label/Salade</a:t>
                      </a:r>
                    </a:p>
                  </a:txBody>
                  <a:tcPr marL="36000" marR="36000" marT="4763" marB="0" anchor="ctr">
                    <a:solidFill>
                      <a:srgbClr val="CBEAE7"/>
                    </a:solidFill>
                  </a:tcPr>
                </a:tc>
                <a:extLst>
                  <a:ext uri="{0D108BD9-81ED-4DB2-BD59-A6C34878D82A}">
                    <a16:rowId xmlns:a16="http://schemas.microsoft.com/office/drawing/2014/main" val="98934626"/>
                  </a:ext>
                </a:extLst>
              </a:tr>
              <a:tr h="239316">
                <a:tc>
                  <a:txBody>
                    <a:bodyPr/>
                    <a:lstStyle/>
                    <a:p>
                      <a:pPr algn="ctr">
                        <a:defRPr sz="900">
                          <a:latin typeface="Nexa Book (Body)"/>
                        </a:defRPr>
                      </a:pPr>
                      <a:r>
                        <a:rPr sz="900">
                          <a:latin typeface="Nexa Book (Body)"/>
                        </a:rPr>
                        <a:t>2</a:t>
                      </a:r>
                    </a:p>
                  </a:txBody>
                  <a:tcPr marL="36000" marR="36000" marT="4763" marB="0" anchor="ctr">
                    <a:solidFill>
                      <a:srgbClr val="FFBFBF"/>
                    </a:solidFill>
                  </a:tcPr>
                </a:tc>
                <a:tc>
                  <a:txBody>
                    <a:bodyPr/>
                    <a:lstStyle/>
                    <a:p>
                      <a:pPr algn="l">
                        <a:defRPr sz="900">
                          <a:latin typeface="Nexa Book (Body)"/>
                        </a:defRPr>
                      </a:pPr>
                      <a:r>
                        <a:rPr sz="900">
                          <a:latin typeface="Nexa Book (Body)"/>
                        </a:rPr>
                        <a:t>Private Label/Classique</a:t>
                      </a:r>
                    </a:p>
                  </a:txBody>
                  <a:tcPr marL="36000" marR="36000" marT="4763" marB="0" anchor="ctr">
                    <a:solidFill>
                      <a:srgbClr val="FFBFBF"/>
                    </a:solidFill>
                  </a:tcPr>
                </a:tc>
                <a:extLst>
                  <a:ext uri="{0D108BD9-81ED-4DB2-BD59-A6C34878D82A}">
                    <a16:rowId xmlns:a16="http://schemas.microsoft.com/office/drawing/2014/main" val="3049926520"/>
                  </a:ext>
                </a:extLst>
              </a:tr>
              <a:tr h="239316">
                <a:tc>
                  <a:txBody>
                    <a:bodyPr/>
                    <a:lstStyle/>
                    <a:p>
                      <a:pPr algn="ctr">
                        <a:defRPr sz="900">
                          <a:latin typeface="Nexa Book (Body)"/>
                        </a:defRPr>
                      </a:pPr>
                      <a:r>
                        <a:rPr sz="900">
                          <a:latin typeface="Nexa Book (Body)"/>
                        </a:rPr>
                        <a:t>3</a:t>
                      </a:r>
                    </a:p>
                  </a:txBody>
                  <a:tcPr marL="36000" marR="36000" marT="4763" marB="0" anchor="ctr">
                    <a:solidFill>
                      <a:srgbClr val="FFBFBF"/>
                    </a:solidFill>
                  </a:tcPr>
                </a:tc>
                <a:tc>
                  <a:txBody>
                    <a:bodyPr/>
                    <a:lstStyle/>
                    <a:p>
                      <a:pPr algn="l">
                        <a:defRPr sz="900">
                          <a:latin typeface="Nexa Book (Body)"/>
                        </a:defRPr>
                      </a:pPr>
                      <a:r>
                        <a:rPr sz="900">
                          <a:latin typeface="Nexa Book (Body)"/>
                        </a:rPr>
                        <a:t>Private Label/Chevre</a:t>
                      </a:r>
                    </a:p>
                  </a:txBody>
                  <a:tcPr marL="36000" marR="36000" marT="4763" marB="0" anchor="ctr">
                    <a:solidFill>
                      <a:srgbClr val="FFBFBF"/>
                    </a:solidFill>
                  </a:tcPr>
                </a:tc>
                <a:extLst>
                  <a:ext uri="{0D108BD9-81ED-4DB2-BD59-A6C34878D82A}">
                    <a16:rowId xmlns:a16="http://schemas.microsoft.com/office/drawing/2014/main" val="3518559538"/>
                  </a:ext>
                </a:extLst>
              </a:tr>
              <a:tr h="239316">
                <a:tc>
                  <a:txBody>
                    <a:bodyPr/>
                    <a:lstStyle/>
                    <a:p>
                      <a:pPr algn="ctr">
                        <a:defRPr sz="900">
                          <a:latin typeface="Nexa Book (Body)"/>
                        </a:defRPr>
                      </a:pPr>
                      <a:r>
                        <a:rPr sz="900">
                          <a:latin typeface="Nexa Book (Body)"/>
                        </a:rPr>
                        <a:t>4</a:t>
                      </a:r>
                    </a:p>
                  </a:txBody>
                  <a:tcPr marL="36000" marR="36000" marT="4763" marB="0" anchor="ctr">
                    <a:solidFill>
                      <a:srgbClr val="FFBFBF"/>
                    </a:solidFill>
                  </a:tcPr>
                </a:tc>
                <a:tc>
                  <a:txBody>
                    <a:bodyPr/>
                    <a:lstStyle/>
                    <a:p>
                      <a:pPr algn="l">
                        <a:defRPr sz="900">
                          <a:latin typeface="Nexa Book (Body)"/>
                        </a:defRPr>
                      </a:pPr>
                      <a:r>
                        <a:rPr sz="900">
                          <a:latin typeface="Nexa Book (Body)"/>
                        </a:rPr>
                        <a:t>Soignon/Chevre</a:t>
                      </a:r>
                    </a:p>
                  </a:txBody>
                  <a:tcPr marL="36000" marR="36000" marT="4763" marB="0" anchor="ctr">
                    <a:solidFill>
                      <a:srgbClr val="FFBFBF"/>
                    </a:solidFill>
                  </a:tcPr>
                </a:tc>
                <a:extLst>
                  <a:ext uri="{0D108BD9-81ED-4DB2-BD59-A6C34878D82A}">
                    <a16:rowId xmlns:a16="http://schemas.microsoft.com/office/drawing/2014/main" val="3886752891"/>
                  </a:ext>
                </a:extLst>
              </a:tr>
              <a:tr h="239316">
                <a:tc>
                  <a:txBody>
                    <a:bodyPr/>
                    <a:lstStyle/>
                    <a:p>
                      <a:pPr algn="ctr">
                        <a:defRPr sz="900">
                          <a:latin typeface="Nexa Book (Body)"/>
                        </a:defRPr>
                      </a:pPr>
                      <a:r>
                        <a:rPr sz="900">
                          <a:latin typeface="Nexa Book (Body)"/>
                        </a:rPr>
                        <a:t>5</a:t>
                      </a:r>
                    </a:p>
                  </a:txBody>
                  <a:tcPr marL="36000" marR="36000" marT="4763" marB="0" anchor="ctr">
                    <a:solidFill>
                      <a:srgbClr val="FFBFBF"/>
                    </a:solidFill>
                  </a:tcPr>
                </a:tc>
                <a:tc>
                  <a:txBody>
                    <a:bodyPr/>
                    <a:lstStyle/>
                    <a:p>
                      <a:pPr algn="l">
                        <a:defRPr sz="900">
                          <a:latin typeface="Nexa Book (Body)"/>
                        </a:defRPr>
                      </a:pPr>
                      <a:r>
                        <a:rPr sz="900">
                          <a:latin typeface="Nexa Book (Body)"/>
                        </a:rPr>
                        <a:t>Caprice Des Dieux/Classique</a:t>
                      </a:r>
                    </a:p>
                  </a:txBody>
                  <a:tcPr marL="36000" marR="36000" marT="4763" marB="0" anchor="ctr">
                    <a:solidFill>
                      <a:srgbClr val="FFBFBF"/>
                    </a:solidFill>
                  </a:tcPr>
                </a:tc>
                <a:extLst>
                  <a:ext uri="{0D108BD9-81ED-4DB2-BD59-A6C34878D82A}">
                    <a16:rowId xmlns:a16="http://schemas.microsoft.com/office/drawing/2014/main" val="3477306869"/>
                  </a:ext>
                </a:extLst>
              </a:tr>
              <a:tr h="239316">
                <a:tc>
                  <a:txBody>
                    <a:bodyPr/>
                    <a:lstStyle/>
                    <a:p>
                      <a:pPr algn="ctr">
                        <a:defRPr sz="900">
                          <a:latin typeface="Nexa Book (Body)"/>
                        </a:defRPr>
                      </a:pPr>
                      <a:r>
                        <a:rPr sz="900">
                          <a:latin typeface="Nexa Book (Body)"/>
                        </a:rPr>
                        <a:t>6</a:t>
                      </a:r>
                    </a:p>
                  </a:txBody>
                  <a:tcPr marL="36000" marR="36000" marT="4763" marB="0" anchor="ctr">
                    <a:solidFill>
                      <a:srgbClr val="CBEAE7"/>
                    </a:solidFill>
                  </a:tcPr>
                </a:tc>
                <a:tc>
                  <a:txBody>
                    <a:bodyPr/>
                    <a:lstStyle/>
                    <a:p>
                      <a:pPr algn="l">
                        <a:defRPr sz="900">
                          <a:latin typeface="Nexa Book (Body)"/>
                        </a:defRPr>
                      </a:pPr>
                      <a:r>
                        <a:rPr sz="900">
                          <a:latin typeface="Nexa Book (Body)"/>
                        </a:rPr>
                        <a:t>St Moret/Frais A Tartiner</a:t>
                      </a:r>
                    </a:p>
                  </a:txBody>
                  <a:tcPr marL="36000" marR="36000" marT="4763" marB="0" anchor="ctr">
                    <a:solidFill>
                      <a:srgbClr val="CBEAE7"/>
                    </a:solidFill>
                  </a:tcPr>
                </a:tc>
                <a:extLst>
                  <a:ext uri="{0D108BD9-81ED-4DB2-BD59-A6C34878D82A}">
                    <a16:rowId xmlns:a16="http://schemas.microsoft.com/office/drawing/2014/main" val="264026324"/>
                  </a:ext>
                </a:extLst>
              </a:tr>
              <a:tr h="239316">
                <a:tc>
                  <a:txBody>
                    <a:bodyPr/>
                    <a:lstStyle/>
                    <a:p>
                      <a:pPr algn="ctr">
                        <a:defRPr sz="900">
                          <a:latin typeface="Nexa Book (Body)"/>
                        </a:defRPr>
                      </a:pPr>
                      <a:r>
                        <a:rPr sz="900">
                          <a:latin typeface="Nexa Book (Body)"/>
                        </a:rPr>
                        <a:t>7</a:t>
                      </a:r>
                    </a:p>
                  </a:txBody>
                  <a:tcPr marL="36000" marR="36000" marT="4763" marB="0" anchor="ctr">
                    <a:solidFill>
                      <a:srgbClr val="FFBFBF"/>
                    </a:solidFill>
                  </a:tcPr>
                </a:tc>
                <a:tc>
                  <a:txBody>
                    <a:bodyPr/>
                    <a:lstStyle/>
                    <a:p>
                      <a:pPr algn="l">
                        <a:defRPr sz="900">
                          <a:latin typeface="Nexa Book (Body)"/>
                        </a:defRPr>
                      </a:pPr>
                      <a:r>
                        <a:rPr sz="900">
                          <a:latin typeface="Nexa Book (Body)"/>
                        </a:rPr>
                        <a:t>La Vache Qui Rit/Enfant</a:t>
                      </a:r>
                    </a:p>
                  </a:txBody>
                  <a:tcPr marL="36000" marR="36000" marT="4763" marB="0" anchor="ctr">
                    <a:solidFill>
                      <a:srgbClr val="FFBFBF"/>
                    </a:solidFill>
                  </a:tcPr>
                </a:tc>
                <a:extLst>
                  <a:ext uri="{0D108BD9-81ED-4DB2-BD59-A6C34878D82A}">
                    <a16:rowId xmlns:a16="http://schemas.microsoft.com/office/drawing/2014/main" val="613793393"/>
                  </a:ext>
                </a:extLst>
              </a:tr>
              <a:tr h="239316">
                <a:tc>
                  <a:txBody>
                    <a:bodyPr/>
                    <a:lstStyle/>
                    <a:p>
                      <a:pPr algn="ctr">
                        <a:defRPr sz="900">
                          <a:latin typeface="Nexa Book (Body)"/>
                        </a:defRPr>
                      </a:pPr>
                      <a:r>
                        <a:rPr sz="900">
                          <a:latin typeface="Nexa Book (Body)"/>
                        </a:rPr>
                        <a:t>8</a:t>
                      </a:r>
                    </a:p>
                  </a:txBody>
                  <a:tcPr marL="36000" marR="36000" marT="4763" marB="0" anchor="ctr">
                    <a:solidFill>
                      <a:srgbClr val="F2F2F2"/>
                    </a:solidFill>
                  </a:tcPr>
                </a:tc>
                <a:tc>
                  <a:txBody>
                    <a:bodyPr/>
                    <a:lstStyle/>
                    <a:p>
                      <a:pPr algn="l">
                        <a:defRPr sz="900">
                          <a:latin typeface="Nexa Book (Body)"/>
                        </a:defRPr>
                      </a:pPr>
                      <a:r>
                        <a:rPr sz="900">
                          <a:latin typeface="Nexa Book (Body)"/>
                        </a:rPr>
                        <a:t>Kiri/Enfant</a:t>
                      </a:r>
                    </a:p>
                  </a:txBody>
                  <a:tcPr marL="36000" marR="36000" marT="4763" marB="0" anchor="ctr">
                    <a:solidFill>
                      <a:srgbClr val="F2F2F2"/>
                    </a:solidFill>
                  </a:tcPr>
                </a:tc>
                <a:extLst>
                  <a:ext uri="{0D108BD9-81ED-4DB2-BD59-A6C34878D82A}">
                    <a16:rowId xmlns:a16="http://schemas.microsoft.com/office/drawing/2014/main" val="4246246309"/>
                  </a:ext>
                </a:extLst>
              </a:tr>
              <a:tr h="239316">
                <a:tc>
                  <a:txBody>
                    <a:bodyPr/>
                    <a:lstStyle/>
                    <a:p>
                      <a:pPr algn="ctr">
                        <a:defRPr sz="900">
                          <a:latin typeface="Nexa Book (Body)"/>
                        </a:defRPr>
                      </a:pPr>
                      <a:r>
                        <a:rPr sz="900">
                          <a:latin typeface="Nexa Book (Body)"/>
                        </a:rPr>
                        <a:t>9</a:t>
                      </a:r>
                    </a:p>
                  </a:txBody>
                  <a:tcPr marL="36000" marR="36000" marT="4763" marB="0" anchor="ctr">
                    <a:solidFill>
                      <a:srgbClr val="FFBFBF"/>
                    </a:solidFill>
                  </a:tcPr>
                </a:tc>
                <a:tc>
                  <a:txBody>
                    <a:bodyPr/>
                    <a:lstStyle/>
                    <a:p>
                      <a:pPr algn="l">
                        <a:defRPr sz="900">
                          <a:latin typeface="Nexa Book (Body)"/>
                        </a:defRPr>
                      </a:pPr>
                      <a:r>
                        <a:rPr sz="900">
                          <a:latin typeface="Nexa Book (Body)"/>
                        </a:rPr>
                        <a:t>Private Label/Frais A Tartiner</a:t>
                      </a:r>
                    </a:p>
                  </a:txBody>
                  <a:tcPr marL="36000" marR="36000" marT="4763" marB="0" anchor="ctr">
                    <a:solidFill>
                      <a:srgbClr val="FFBFBF"/>
                    </a:solidFill>
                  </a:tcPr>
                </a:tc>
                <a:extLst>
                  <a:ext uri="{0D108BD9-81ED-4DB2-BD59-A6C34878D82A}">
                    <a16:rowId xmlns:a16="http://schemas.microsoft.com/office/drawing/2014/main" val="418503086"/>
                  </a:ext>
                </a:extLst>
              </a:tr>
              <a:tr h="239316">
                <a:tc>
                  <a:txBody>
                    <a:bodyPr/>
                    <a:lstStyle/>
                    <a:p>
                      <a:pPr algn="ctr">
                        <a:defRPr sz="900">
                          <a:latin typeface="Nexa Book (Body)"/>
                        </a:defRPr>
                      </a:pPr>
                      <a:r>
                        <a:rPr sz="900">
                          <a:latin typeface="Nexa Book (Body)"/>
                        </a:rPr>
                        <a:t>10</a:t>
                      </a:r>
                    </a:p>
                  </a:txBody>
                  <a:tcPr marL="36000" marR="36000" marT="4763" marB="0" anchor="ctr">
                    <a:solidFill>
                      <a:srgbClr val="CBEAE7"/>
                    </a:solidFill>
                  </a:tcPr>
                </a:tc>
                <a:tc>
                  <a:txBody>
                    <a:bodyPr/>
                    <a:lstStyle/>
                    <a:p>
                      <a:pPr algn="l">
                        <a:defRPr sz="900">
                          <a:latin typeface="Nexa Book (Body)"/>
                        </a:defRPr>
                      </a:pPr>
                      <a:r>
                        <a:rPr sz="900">
                          <a:latin typeface="Nexa Book (Body)"/>
                        </a:rPr>
                        <a:t>Boursin/Frais A Tartiner</a:t>
                      </a:r>
                    </a:p>
                  </a:txBody>
                  <a:tcPr marL="36000" marR="36000" marT="4763" marB="0" anchor="ctr">
                    <a:solidFill>
                      <a:srgbClr val="CBEAE7"/>
                    </a:solidFill>
                  </a:tcPr>
                </a:tc>
                <a:extLst>
                  <a:ext uri="{0D108BD9-81ED-4DB2-BD59-A6C34878D82A}">
                    <a16:rowId xmlns:a16="http://schemas.microsoft.com/office/drawing/2014/main" val="381854689"/>
                  </a:ext>
                </a:extLst>
              </a:tr>
              <a:tr h="239316">
                <a:tc>
                  <a:txBody>
                    <a:bodyPr/>
                    <a:lstStyle/>
                    <a:p>
                      <a:pPr algn="ctr">
                        <a:defRPr sz="900">
                          <a:latin typeface="Nexa Book (Body)"/>
                        </a:defRPr>
                      </a:pPr>
                      <a:r>
                        <a:rPr sz="900">
                          <a:latin typeface="Nexa Book (Body)"/>
                        </a:rPr>
                        <a:t>11</a:t>
                      </a:r>
                    </a:p>
                  </a:txBody>
                  <a:tcPr marL="36000" marR="36000" marT="4763" marB="0" anchor="ctr">
                    <a:solidFill>
                      <a:srgbClr val="CBEAE7"/>
                    </a:solidFill>
                  </a:tcPr>
                </a:tc>
                <a:tc>
                  <a:txBody>
                    <a:bodyPr/>
                    <a:lstStyle/>
                    <a:p>
                      <a:pPr algn="l">
                        <a:defRPr sz="900">
                          <a:latin typeface="Nexa Book (Body)"/>
                        </a:defRPr>
                      </a:pPr>
                      <a:r>
                        <a:rPr sz="900">
                          <a:latin typeface="Nexa Book (Body)"/>
                        </a:rPr>
                        <a:t>Boursin/Aperitif</a:t>
                      </a:r>
                    </a:p>
                  </a:txBody>
                  <a:tcPr marL="36000" marR="36000" marT="4763" marB="0" anchor="ctr">
                    <a:solidFill>
                      <a:srgbClr val="CBEAE7"/>
                    </a:solidFill>
                  </a:tcPr>
                </a:tc>
                <a:extLst>
                  <a:ext uri="{0D108BD9-81ED-4DB2-BD59-A6C34878D82A}">
                    <a16:rowId xmlns:a16="http://schemas.microsoft.com/office/drawing/2014/main" val="362768916"/>
                  </a:ext>
                </a:extLst>
              </a:tr>
              <a:tr h="239316">
                <a:tc>
                  <a:txBody>
                    <a:bodyPr/>
                    <a:lstStyle/>
                    <a:p>
                      <a:pPr algn="ctr">
                        <a:defRPr sz="900">
                          <a:latin typeface="Nexa Book (Body)"/>
                        </a:defRPr>
                      </a:pPr>
                      <a:r>
                        <a:rPr sz="900">
                          <a:latin typeface="Nexa Book (Body)"/>
                        </a:rPr>
                        <a:t>12</a:t>
                      </a:r>
                    </a:p>
                  </a:txBody>
                  <a:tcPr marL="36000" marR="36000" marT="4763" marB="0" anchor="ctr">
                    <a:solidFill>
                      <a:srgbClr val="FFBFBF"/>
                    </a:solidFill>
                  </a:tcPr>
                </a:tc>
                <a:tc>
                  <a:txBody>
                    <a:bodyPr/>
                    <a:lstStyle/>
                    <a:p>
                      <a:pPr algn="l">
                        <a:defRPr sz="900">
                          <a:latin typeface="Nexa Book (Body)"/>
                        </a:defRPr>
                      </a:pPr>
                      <a:r>
                        <a:rPr sz="900">
                          <a:latin typeface="Nexa Book (Body)"/>
                        </a:rPr>
                        <a:t>Boursin/Salade</a:t>
                      </a:r>
                    </a:p>
                  </a:txBody>
                  <a:tcPr marL="36000" marR="36000" marT="4763" marB="0" anchor="ctr">
                    <a:solidFill>
                      <a:srgbClr val="FFBFBF"/>
                    </a:solidFill>
                  </a:tcPr>
                </a:tc>
                <a:extLst>
                  <a:ext uri="{0D108BD9-81ED-4DB2-BD59-A6C34878D82A}">
                    <a16:rowId xmlns:a16="http://schemas.microsoft.com/office/drawing/2014/main" val="1139766948"/>
                  </a:ext>
                </a:extLst>
              </a:tr>
              <a:tr h="239316">
                <a:tc>
                  <a:txBody>
                    <a:bodyPr/>
                    <a:lstStyle/>
                    <a:p>
                      <a:pPr algn="ctr">
                        <a:defRPr sz="900">
                          <a:latin typeface="Nexa Book (Body)"/>
                        </a:defRPr>
                      </a:pPr>
                      <a:r>
                        <a:rPr sz="900">
                          <a:latin typeface="Nexa Book (Body)"/>
                        </a:rPr>
                        <a:t>13</a:t>
                      </a:r>
                    </a:p>
                  </a:txBody>
                  <a:tcPr marL="36000" marR="36000" marT="4763" marB="0" anchor="ctr">
                    <a:solidFill>
                      <a:srgbClr val="FFBFBF"/>
                    </a:solidFill>
                  </a:tcPr>
                </a:tc>
                <a:tc>
                  <a:txBody>
                    <a:bodyPr/>
                    <a:lstStyle/>
                    <a:p>
                      <a:pPr algn="l">
                        <a:defRPr sz="900">
                          <a:latin typeface="Nexa Book (Body)"/>
                        </a:defRPr>
                      </a:pPr>
                      <a:r>
                        <a:rPr sz="900">
                          <a:latin typeface="Nexa Book (Body)"/>
                        </a:rPr>
                        <a:t>Kiri/Frais A Tartiner</a:t>
                      </a:r>
                    </a:p>
                  </a:txBody>
                  <a:tcPr marL="36000" marR="36000" marT="4763" marB="0" anchor="ctr">
                    <a:solidFill>
                      <a:srgbClr val="FFBFBF"/>
                    </a:solidFill>
                  </a:tcPr>
                </a:tc>
                <a:extLst>
                  <a:ext uri="{0D108BD9-81ED-4DB2-BD59-A6C34878D82A}">
                    <a16:rowId xmlns:a16="http://schemas.microsoft.com/office/drawing/2014/main" val="1687090376"/>
                  </a:ext>
                </a:extLst>
              </a:tr>
              <a:tr h="239316">
                <a:tc>
                  <a:txBody>
                    <a:bodyPr/>
                    <a:lstStyle/>
                    <a:p>
                      <a:pPr algn="ctr">
                        <a:defRPr sz="900">
                          <a:latin typeface="Nexa Book (Body)"/>
                        </a:defRPr>
                      </a:pPr>
                      <a:r>
                        <a:rPr sz="900">
                          <a:latin typeface="Nexa Book (Body)"/>
                        </a:rPr>
                        <a:t>14</a:t>
                      </a:r>
                    </a:p>
                  </a:txBody>
                  <a:tcPr marL="36000" marR="36000" marT="4763" marB="0" anchor="ctr">
                    <a:solidFill>
                      <a:srgbClr val="F2F2F2"/>
                    </a:solidFill>
                  </a:tcPr>
                </a:tc>
                <a:tc>
                  <a:txBody>
                    <a:bodyPr/>
                    <a:lstStyle/>
                    <a:p>
                      <a:pPr algn="l">
                        <a:defRPr sz="900">
                          <a:latin typeface="Nexa Book (Body)"/>
                        </a:defRPr>
                      </a:pPr>
                      <a:r>
                        <a:rPr sz="900">
                          <a:latin typeface="Nexa Book (Body)"/>
                        </a:rPr>
                        <a:t>Boursin/Alternative Vegetale</a:t>
                      </a:r>
                    </a:p>
                  </a:txBody>
                  <a:tcPr marL="36000" marR="36000" marT="4763" marB="0" anchor="ctr">
                    <a:solidFill>
                      <a:srgbClr val="F2F2F2"/>
                    </a:solidFill>
                  </a:tcPr>
                </a:tc>
                <a:extLst>
                  <a:ext uri="{0D108BD9-81ED-4DB2-BD59-A6C34878D82A}">
                    <a16:rowId xmlns:a16="http://schemas.microsoft.com/office/drawing/2014/main" val="1182192680"/>
                  </a:ext>
                </a:extLst>
              </a:tr>
              <a:tr h="239316">
                <a:tc>
                  <a:txBody>
                    <a:bodyPr/>
                    <a:lstStyle/>
                    <a:p>
                      <a:pPr algn="ctr">
                        <a:defRPr sz="900">
                          <a:latin typeface="Nexa Book (Body)"/>
                        </a:defRPr>
                      </a:pPr>
                      <a:r>
                        <a:rPr sz="900">
                          <a:latin typeface="Nexa Book (Body)"/>
                        </a:rPr>
                        <a:t>15</a:t>
                      </a:r>
                    </a:p>
                  </a:txBody>
                  <a:tcPr marL="36000" marR="36000" marT="4763" marB="0" anchor="ctr">
                    <a:solidFill>
                      <a:srgbClr val="CBEAE7"/>
                    </a:solidFill>
                  </a:tcPr>
                </a:tc>
                <a:tc>
                  <a:txBody>
                    <a:bodyPr/>
                    <a:lstStyle/>
                    <a:p>
                      <a:pPr algn="l">
                        <a:defRPr sz="900">
                          <a:latin typeface="Nexa Book (Body)"/>
                        </a:defRPr>
                      </a:pPr>
                      <a:r>
                        <a:rPr sz="900">
                          <a:latin typeface="Nexa Book (Body)"/>
                        </a:rPr>
                        <a:t>La Vache Qui Rit/Frais A Tartiner</a:t>
                      </a:r>
                    </a:p>
                  </a:txBody>
                  <a:tcPr marL="36000" marR="36000" marT="4763" marB="0" anchor="ctr">
                    <a:solidFill>
                      <a:srgbClr val="CBEAE7"/>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9/25/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552304439"/>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5"/>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648547">
                <a:tc>
                  <a:txBody>
                    <a:bodyPr/>
                    <a:lstStyle/>
                    <a:p>
                      <a:pPr>
                        <a:defRPr sz="900">
                          <a:latin typeface="Nexa Bold"/>
                        </a:defRPr>
                      </a:pPr>
                      <a:r>
                        <a:t>Be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36</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648547">
                <a:tc>
                  <a:txBody>
                    <a:bodyPr/>
                    <a:lstStyle/>
                    <a:p>
                      <a:pPr>
                        <a:defRPr sz="900">
                          <a:latin typeface="Nexa Bold"/>
                        </a:defRPr>
                      </a:pPr>
                      <a:r>
                        <a:t>Md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0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648547">
                <a:tc>
                  <a:txBody>
                    <a:bodyPr/>
                    <a:lstStyle/>
                    <a:p>
                      <a:pPr>
                        <a:defRPr sz="900">
                          <a:latin typeface="Nexa Bold"/>
                        </a:defRPr>
                      </a:pPr>
                      <a:r>
                        <a:t>Ker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3.1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648547">
                <a:tc>
                  <a:txBody>
                    <a:bodyPr/>
                    <a:lstStyle/>
                    <a:p>
                      <a:pPr>
                        <a:defRPr sz="900">
                          <a:latin typeface="Nexa Bold"/>
                        </a:defRPr>
                      </a:pPr>
                      <a:r>
                        <a:t>Savenci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6.22</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648547">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24.0</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8</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Enfant | Intermarche</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463248">
                <a:tc>
                  <a:txBody>
                    <a:bodyPr/>
                    <a:lstStyle/>
                    <a:p>
                      <a:pPr>
                        <a:defRPr sz="900">
                          <a:latin typeface="Nexa Bold"/>
                        </a:defRPr>
                      </a:pPr>
                      <a: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463248">
                <a:tc>
                  <a:txBody>
                    <a:bodyPr/>
                    <a:lstStyle/>
                    <a:p>
                      <a:pPr>
                        <a:defRPr sz="900">
                          <a:latin typeface="Nexa Bold"/>
                        </a:defRPr>
                      </a:pPr>
                      <a:r>
                        <a:t>Mini Baby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463248">
                <a:tc>
                  <a:txBody>
                    <a:bodyPr/>
                    <a:lstStyle/>
                    <a:p>
                      <a:pPr>
                        <a:defRPr sz="900">
                          <a:latin typeface="Nexa Bold"/>
                        </a:defRPr>
                      </a:pPr>
                      <a: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463248">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463248">
                <a:tc>
                  <a:txBody>
                    <a:bodyPr/>
                    <a:lstStyle/>
                    <a:p>
                      <a:pPr>
                        <a:defRPr sz="900">
                          <a:latin typeface="Nexa Bold"/>
                        </a:defRPr>
                      </a:pPr>
                      <a:r>
                        <a:t>Ficel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3.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463248">
                <a:tc>
                  <a:txBody>
                    <a:bodyPr/>
                    <a:lstStyle/>
                    <a:p>
                      <a:pPr>
                        <a:defRPr sz="900">
                          <a:latin typeface="Nexa Bold"/>
                        </a:defRPr>
                      </a:pPr>
                      <a:r>
                        <a:t>P'Tit Lou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00A097"/>
                          </a:solidFill>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463248">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2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9/25/2025</a:t>
            </a:fld>
            <a:endParaRPr lang="en-US"/>
          </a:p>
        </p:txBody>
      </p:sp>
    </p:spTree>
    <p:extLst>
      <p:ext uri="{BB962C8B-B14F-4D97-AF65-F5344CB8AC3E}">
        <p14:creationId xmlns:p14="http://schemas.microsoft.com/office/powerpoint/2010/main" val="1729304604"/>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Momentum Analysis | P12M vs. P3M Share Difference vs. YA | Total Fromage | Intermarche | By Brand x Market
Bubble Size: P12M Value Sales</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pPr>
              <a:defRPr>
                <a:latin typeface="Nexa Bold (Headings)"/>
              </a:defRPr>
            </a:pPr>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29"/>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276133">
                <a:tc>
                  <a:txBody>
                    <a:bodyPr/>
                    <a:lstStyle/>
                    <a:p>
                      <a:pPr algn="ctr">
                        <a:defRPr sz="900">
                          <a:latin typeface="Nexa Book (Body)"/>
                        </a:defRPr>
                      </a:pPr>
                      <a:r>
                        <a:rPr sz="900">
                          <a:latin typeface="Nexa Book (Body)"/>
                        </a:rPr>
                        <a:t>1</a:t>
                      </a:r>
                    </a:p>
                  </a:txBody>
                  <a:tcPr marL="36000" marR="36000" marT="4763" marB="0" anchor="ctr">
                    <a:solidFill>
                      <a:srgbClr val="CBEAE7"/>
                    </a:solidFill>
                  </a:tcPr>
                </a:tc>
                <a:tc>
                  <a:txBody>
                    <a:bodyPr/>
                    <a:lstStyle/>
                    <a:p>
                      <a:pPr algn="l">
                        <a:defRPr sz="900">
                          <a:latin typeface="Nexa Book (Body)"/>
                        </a:defRPr>
                      </a:pPr>
                      <a:r>
                        <a:rPr sz="900">
                          <a:latin typeface="Nexa Book (Body)"/>
                        </a:rPr>
                        <a:t>Private Label/Salade</a:t>
                      </a:r>
                    </a:p>
                  </a:txBody>
                  <a:tcPr marL="36000" marR="36000" marT="4763" marB="0" anchor="ctr">
                    <a:solidFill>
                      <a:srgbClr val="CBEAE7"/>
                    </a:solidFill>
                  </a:tcPr>
                </a:tc>
                <a:extLst>
                  <a:ext uri="{0D108BD9-81ED-4DB2-BD59-A6C34878D82A}">
                    <a16:rowId xmlns:a16="http://schemas.microsoft.com/office/drawing/2014/main" val="3518559538"/>
                  </a:ext>
                </a:extLst>
              </a:tr>
              <a:tr h="276133">
                <a:tc>
                  <a:txBody>
                    <a:bodyPr/>
                    <a:lstStyle/>
                    <a:p>
                      <a:pPr algn="ctr">
                        <a:defRPr sz="900">
                          <a:latin typeface="Nexa Book (Body)"/>
                        </a:defRPr>
                      </a:pPr>
                      <a:r>
                        <a:rPr sz="900">
                          <a:latin typeface="Nexa Book (Body)"/>
                        </a:rPr>
                        <a:t>2</a:t>
                      </a:r>
                    </a:p>
                  </a:txBody>
                  <a:tcPr marL="36000" marR="36000" marT="4763" marB="0" anchor="ctr">
                    <a:solidFill>
                      <a:srgbClr val="FFBFBF"/>
                    </a:solidFill>
                  </a:tcPr>
                </a:tc>
                <a:tc>
                  <a:txBody>
                    <a:bodyPr/>
                    <a:lstStyle/>
                    <a:p>
                      <a:pPr algn="l">
                        <a:defRPr sz="900">
                          <a:latin typeface="Nexa Book (Body)"/>
                        </a:defRPr>
                      </a:pPr>
                      <a:r>
                        <a:rPr sz="900">
                          <a:latin typeface="Nexa Book (Body)"/>
                        </a:rPr>
                        <a:t>Private Label/Classique</a:t>
                      </a:r>
                    </a:p>
                  </a:txBody>
                  <a:tcPr marL="36000" marR="36000" marT="4763" marB="0" anchor="ctr">
                    <a:solidFill>
                      <a:srgbClr val="FFBFBF"/>
                    </a:solidFill>
                  </a:tcPr>
                </a:tc>
                <a:extLst>
                  <a:ext uri="{0D108BD9-81ED-4DB2-BD59-A6C34878D82A}">
                    <a16:rowId xmlns:a16="http://schemas.microsoft.com/office/drawing/2014/main" val="3886752891"/>
                  </a:ext>
                </a:extLst>
              </a:tr>
              <a:tr h="276133">
                <a:tc>
                  <a:txBody>
                    <a:bodyPr/>
                    <a:lstStyle/>
                    <a:p>
                      <a:pPr algn="ctr">
                        <a:defRPr sz="900">
                          <a:latin typeface="Nexa Book (Body)"/>
                        </a:defRPr>
                      </a:pPr>
                      <a:r>
                        <a:rPr sz="900">
                          <a:latin typeface="Nexa Book (Body)"/>
                        </a:rPr>
                        <a:t>3</a:t>
                      </a:r>
                    </a:p>
                  </a:txBody>
                  <a:tcPr marL="36000" marR="36000" marT="4763" marB="0" anchor="ctr">
                    <a:solidFill>
                      <a:srgbClr val="F2F2F2"/>
                    </a:solidFill>
                  </a:tcPr>
                </a:tc>
                <a:tc>
                  <a:txBody>
                    <a:bodyPr/>
                    <a:lstStyle/>
                    <a:p>
                      <a:pPr algn="l">
                        <a:defRPr sz="900">
                          <a:latin typeface="Nexa Book (Body)"/>
                        </a:defRPr>
                      </a:pPr>
                      <a:r>
                        <a:rPr sz="900">
                          <a:latin typeface="Nexa Book (Body)"/>
                        </a:rPr>
                        <a:t>Private Label/Chevre</a:t>
                      </a:r>
                    </a:p>
                  </a:txBody>
                  <a:tcPr marL="36000" marR="36000" marT="4763" marB="0" anchor="ctr">
                    <a:solidFill>
                      <a:srgbClr val="F2F2F2"/>
                    </a:solidFill>
                  </a:tcPr>
                </a:tc>
                <a:extLst>
                  <a:ext uri="{0D108BD9-81ED-4DB2-BD59-A6C34878D82A}">
                    <a16:rowId xmlns:a16="http://schemas.microsoft.com/office/drawing/2014/main" val="3477306869"/>
                  </a:ext>
                </a:extLst>
              </a:tr>
              <a:tr h="276133">
                <a:tc>
                  <a:txBody>
                    <a:bodyPr/>
                    <a:lstStyle/>
                    <a:p>
                      <a:pPr algn="ctr">
                        <a:defRPr sz="900">
                          <a:latin typeface="Nexa Book (Body)"/>
                        </a:defRPr>
                      </a:pPr>
                      <a:r>
                        <a:rPr sz="900">
                          <a:latin typeface="Nexa Book (Body)"/>
                        </a:rPr>
                        <a:t>4</a:t>
                      </a:r>
                    </a:p>
                  </a:txBody>
                  <a:tcPr marL="36000" marR="36000" marT="4763" marB="0" anchor="ctr">
                    <a:solidFill>
                      <a:srgbClr val="FFBFBF"/>
                    </a:solidFill>
                  </a:tcPr>
                </a:tc>
                <a:tc>
                  <a:txBody>
                    <a:bodyPr/>
                    <a:lstStyle/>
                    <a:p>
                      <a:pPr algn="l">
                        <a:defRPr sz="900">
                          <a:latin typeface="Nexa Book (Body)"/>
                        </a:defRPr>
                      </a:pPr>
                      <a:r>
                        <a:rPr sz="900">
                          <a:latin typeface="Nexa Book (Body)"/>
                        </a:rPr>
                        <a:t>Soignon/Chevre</a:t>
                      </a:r>
                    </a:p>
                  </a:txBody>
                  <a:tcPr marL="36000" marR="36000" marT="4763" marB="0" anchor="ctr">
                    <a:solidFill>
                      <a:srgbClr val="FFBFBF"/>
                    </a:solidFill>
                  </a:tcPr>
                </a:tc>
                <a:extLst>
                  <a:ext uri="{0D108BD9-81ED-4DB2-BD59-A6C34878D82A}">
                    <a16:rowId xmlns:a16="http://schemas.microsoft.com/office/drawing/2014/main" val="264026324"/>
                  </a:ext>
                </a:extLst>
              </a:tr>
              <a:tr h="276133">
                <a:tc>
                  <a:txBody>
                    <a:bodyPr/>
                    <a:lstStyle/>
                    <a:p>
                      <a:pPr algn="ctr">
                        <a:defRPr sz="900">
                          <a:latin typeface="Nexa Book (Body)"/>
                        </a:defRPr>
                      </a:pPr>
                      <a:r>
                        <a:rPr sz="900">
                          <a:latin typeface="Nexa Book (Body)"/>
                        </a:rPr>
                        <a:t>5</a:t>
                      </a:r>
                    </a:p>
                  </a:txBody>
                  <a:tcPr marL="36000" marR="36000" marT="4763" marB="0" anchor="ctr">
                    <a:solidFill>
                      <a:srgbClr val="CBEAE7"/>
                    </a:solidFill>
                  </a:tcPr>
                </a:tc>
                <a:tc>
                  <a:txBody>
                    <a:bodyPr/>
                    <a:lstStyle/>
                    <a:p>
                      <a:pPr algn="l">
                        <a:defRPr sz="900">
                          <a:latin typeface="Nexa Book (Body)"/>
                        </a:defRPr>
                      </a:pPr>
                      <a:r>
                        <a:rPr sz="900">
                          <a:latin typeface="Nexa Book (Body)"/>
                        </a:rPr>
                        <a:t>St Moret/Frais A Tartiner</a:t>
                      </a:r>
                    </a:p>
                  </a:txBody>
                  <a:tcPr marL="36000" marR="36000" marT="4763" marB="0" anchor="ctr">
                    <a:solidFill>
                      <a:srgbClr val="CBEAE7"/>
                    </a:solidFill>
                  </a:tcPr>
                </a:tc>
                <a:extLst>
                  <a:ext uri="{0D108BD9-81ED-4DB2-BD59-A6C34878D82A}">
                    <a16:rowId xmlns:a16="http://schemas.microsoft.com/office/drawing/2014/main" val="613793393"/>
                  </a:ext>
                </a:extLst>
              </a:tr>
              <a:tr h="276133">
                <a:tc>
                  <a:txBody>
                    <a:bodyPr/>
                    <a:lstStyle/>
                    <a:p>
                      <a:pPr algn="ctr">
                        <a:defRPr sz="900">
                          <a:latin typeface="Nexa Book (Body)"/>
                        </a:defRPr>
                      </a:pPr>
                      <a:r>
                        <a:rPr sz="900">
                          <a:latin typeface="Nexa Book (Body)"/>
                        </a:rPr>
                        <a:t>6</a:t>
                      </a:r>
                    </a:p>
                  </a:txBody>
                  <a:tcPr marL="36000" marR="36000" marT="4763" marB="0" anchor="ctr">
                    <a:solidFill>
                      <a:srgbClr val="FFBFBF"/>
                    </a:solidFill>
                  </a:tcPr>
                </a:tc>
                <a:tc>
                  <a:txBody>
                    <a:bodyPr/>
                    <a:lstStyle/>
                    <a:p>
                      <a:pPr algn="l">
                        <a:defRPr sz="900">
                          <a:latin typeface="Nexa Book (Body)"/>
                        </a:defRPr>
                      </a:pPr>
                      <a:r>
                        <a:rPr sz="900">
                          <a:latin typeface="Nexa Book (Body)"/>
                        </a:rPr>
                        <a:t>Caprice Des Dieux/Classique</a:t>
                      </a:r>
                    </a:p>
                  </a:txBody>
                  <a:tcPr marL="36000" marR="36000" marT="4763" marB="0" anchor="ctr">
                    <a:solidFill>
                      <a:srgbClr val="FFBFBF"/>
                    </a:solidFill>
                  </a:tcPr>
                </a:tc>
                <a:extLst>
                  <a:ext uri="{0D108BD9-81ED-4DB2-BD59-A6C34878D82A}">
                    <a16:rowId xmlns:a16="http://schemas.microsoft.com/office/drawing/2014/main" val="4246246309"/>
                  </a:ext>
                </a:extLst>
              </a:tr>
              <a:tr h="276133">
                <a:tc>
                  <a:txBody>
                    <a:bodyPr/>
                    <a:lstStyle/>
                    <a:p>
                      <a:pPr algn="ctr">
                        <a:defRPr sz="900">
                          <a:latin typeface="Nexa Book (Body)"/>
                        </a:defRPr>
                      </a:pPr>
                      <a:r>
                        <a:rPr sz="900">
                          <a:latin typeface="Nexa Book (Body)"/>
                        </a:rPr>
                        <a:t>7</a:t>
                      </a:r>
                    </a:p>
                  </a:txBody>
                  <a:tcPr marL="36000" marR="36000" marT="4763" marB="0" anchor="ctr">
                    <a:solidFill>
                      <a:srgbClr val="CBEAE7"/>
                    </a:solidFill>
                  </a:tcPr>
                </a:tc>
                <a:tc>
                  <a:txBody>
                    <a:bodyPr/>
                    <a:lstStyle/>
                    <a:p>
                      <a:pPr algn="l">
                        <a:defRPr sz="900">
                          <a:latin typeface="Nexa Book (Body)"/>
                        </a:defRPr>
                      </a:pPr>
                      <a:r>
                        <a:rPr sz="900">
                          <a:latin typeface="Nexa Book (Body)"/>
                        </a:rPr>
                        <a:t>La Vache Qui Rit/Enfant</a:t>
                      </a:r>
                    </a:p>
                  </a:txBody>
                  <a:tcPr marL="36000" marR="36000" marT="4763" marB="0" anchor="ctr">
                    <a:solidFill>
                      <a:srgbClr val="CBEAE7"/>
                    </a:solidFill>
                  </a:tcPr>
                </a:tc>
                <a:extLst>
                  <a:ext uri="{0D108BD9-81ED-4DB2-BD59-A6C34878D82A}">
                    <a16:rowId xmlns:a16="http://schemas.microsoft.com/office/drawing/2014/main" val="418503086"/>
                  </a:ext>
                </a:extLst>
              </a:tr>
              <a:tr h="276133">
                <a:tc>
                  <a:txBody>
                    <a:bodyPr/>
                    <a:lstStyle/>
                    <a:p>
                      <a:pPr algn="ctr">
                        <a:defRPr sz="900">
                          <a:latin typeface="Nexa Book (Body)"/>
                        </a:defRPr>
                      </a:pPr>
                      <a:r>
                        <a:rPr sz="900">
                          <a:latin typeface="Nexa Book (Body)"/>
                        </a:rPr>
                        <a:t>8</a:t>
                      </a:r>
                    </a:p>
                  </a:txBody>
                  <a:tcPr marL="36000" marR="36000" marT="4763" marB="0" anchor="ctr">
                    <a:solidFill>
                      <a:srgbClr val="CBEAE7"/>
                    </a:solidFill>
                  </a:tcPr>
                </a:tc>
                <a:tc>
                  <a:txBody>
                    <a:bodyPr/>
                    <a:lstStyle/>
                    <a:p>
                      <a:pPr algn="l">
                        <a:defRPr sz="900">
                          <a:latin typeface="Nexa Book (Body)"/>
                        </a:defRPr>
                      </a:pPr>
                      <a:r>
                        <a:rPr sz="900">
                          <a:latin typeface="Nexa Book (Body)"/>
                        </a:rPr>
                        <a:t>Kiri/Enfant</a:t>
                      </a:r>
                    </a:p>
                  </a:txBody>
                  <a:tcPr marL="36000" marR="36000" marT="4763" marB="0" anchor="ctr">
                    <a:solidFill>
                      <a:srgbClr val="CBEAE7"/>
                    </a:solidFill>
                  </a:tcPr>
                </a:tc>
                <a:extLst>
                  <a:ext uri="{0D108BD9-81ED-4DB2-BD59-A6C34878D82A}">
                    <a16:rowId xmlns:a16="http://schemas.microsoft.com/office/drawing/2014/main" val="381854689"/>
                  </a:ext>
                </a:extLst>
              </a:tr>
              <a:tr h="276133">
                <a:tc>
                  <a:txBody>
                    <a:bodyPr/>
                    <a:lstStyle/>
                    <a:p>
                      <a:pPr algn="ctr">
                        <a:defRPr sz="900">
                          <a:latin typeface="Nexa Book (Body)"/>
                        </a:defRPr>
                      </a:pPr>
                      <a:r>
                        <a:rPr sz="900">
                          <a:latin typeface="Nexa Book (Body)"/>
                        </a:rPr>
                        <a:t>9</a:t>
                      </a:r>
                    </a:p>
                  </a:txBody>
                  <a:tcPr marL="36000" marR="36000" marT="4763" marB="0" anchor="ctr">
                    <a:solidFill>
                      <a:srgbClr val="FFBFBF"/>
                    </a:solidFill>
                  </a:tcPr>
                </a:tc>
                <a:tc>
                  <a:txBody>
                    <a:bodyPr/>
                    <a:lstStyle/>
                    <a:p>
                      <a:pPr algn="l">
                        <a:defRPr sz="900">
                          <a:latin typeface="Nexa Book (Body)"/>
                        </a:defRPr>
                      </a:pPr>
                      <a:r>
                        <a:rPr sz="900">
                          <a:latin typeface="Nexa Book (Body)"/>
                        </a:rPr>
                        <a:t>Private Label/Frais A Tartiner</a:t>
                      </a:r>
                    </a:p>
                  </a:txBody>
                  <a:tcPr marL="36000" marR="36000" marT="4763" marB="0" anchor="ctr">
                    <a:solidFill>
                      <a:srgbClr val="FFBFBF"/>
                    </a:solidFill>
                  </a:tcPr>
                </a:tc>
                <a:extLst>
                  <a:ext uri="{0D108BD9-81ED-4DB2-BD59-A6C34878D82A}">
                    <a16:rowId xmlns:a16="http://schemas.microsoft.com/office/drawing/2014/main" val="362768916"/>
                  </a:ext>
                </a:extLst>
              </a:tr>
              <a:tr h="276133">
                <a:tc>
                  <a:txBody>
                    <a:bodyPr/>
                    <a:lstStyle/>
                    <a:p>
                      <a:pPr algn="ctr">
                        <a:defRPr sz="900">
                          <a:latin typeface="Nexa Book (Body)"/>
                        </a:defRPr>
                      </a:pPr>
                      <a:r>
                        <a:rPr sz="900">
                          <a:latin typeface="Nexa Book (Body)"/>
                        </a:rPr>
                        <a:t>10</a:t>
                      </a:r>
                    </a:p>
                  </a:txBody>
                  <a:tcPr marL="36000" marR="36000" marT="4763" marB="0" anchor="ctr">
                    <a:solidFill>
                      <a:srgbClr val="F2F2F2"/>
                    </a:solidFill>
                  </a:tcPr>
                </a:tc>
                <a:tc>
                  <a:txBody>
                    <a:bodyPr/>
                    <a:lstStyle/>
                    <a:p>
                      <a:pPr algn="l">
                        <a:defRPr sz="900">
                          <a:latin typeface="Nexa Book (Body)"/>
                        </a:defRPr>
                      </a:pPr>
                      <a:r>
                        <a:rPr sz="900">
                          <a:latin typeface="Nexa Book (Body)"/>
                        </a:rPr>
                        <a:t>Boursin/Frais A Tartiner</a:t>
                      </a:r>
                    </a:p>
                  </a:txBody>
                  <a:tcPr marL="36000" marR="36000" marT="4763" marB="0" anchor="ctr">
                    <a:solidFill>
                      <a:srgbClr val="F2F2F2"/>
                    </a:solidFill>
                  </a:tcPr>
                </a:tc>
                <a:extLst>
                  <a:ext uri="{0D108BD9-81ED-4DB2-BD59-A6C34878D82A}">
                    <a16:rowId xmlns:a16="http://schemas.microsoft.com/office/drawing/2014/main" val="1139766948"/>
                  </a:ext>
                </a:extLst>
              </a:tr>
              <a:tr h="276133">
                <a:tc>
                  <a:txBody>
                    <a:bodyPr/>
                    <a:lstStyle/>
                    <a:p>
                      <a:pPr algn="ctr">
                        <a:defRPr sz="900">
                          <a:latin typeface="Nexa Book (Body)"/>
                        </a:defRPr>
                      </a:pPr>
                      <a:r>
                        <a:rPr sz="900">
                          <a:latin typeface="Nexa Book (Body)"/>
                        </a:rPr>
                        <a:t>11</a:t>
                      </a:r>
                    </a:p>
                  </a:txBody>
                  <a:tcPr marL="36000" marR="36000" marT="4763" marB="0" anchor="ctr">
                    <a:solidFill>
                      <a:srgbClr val="FFBFBF"/>
                    </a:solidFill>
                  </a:tcPr>
                </a:tc>
                <a:tc>
                  <a:txBody>
                    <a:bodyPr/>
                    <a:lstStyle/>
                    <a:p>
                      <a:pPr algn="l">
                        <a:defRPr sz="900">
                          <a:latin typeface="Nexa Book (Body)"/>
                        </a:defRPr>
                      </a:pPr>
                      <a:r>
                        <a:rPr sz="900">
                          <a:latin typeface="Nexa Book (Body)"/>
                        </a:rPr>
                        <a:t>Boursin/Aperitif</a:t>
                      </a:r>
                    </a:p>
                  </a:txBody>
                  <a:tcPr marL="36000" marR="36000" marT="4763" marB="0" anchor="ctr">
                    <a:solidFill>
                      <a:srgbClr val="FFBFBF"/>
                    </a:solidFill>
                  </a:tcPr>
                </a:tc>
                <a:extLst>
                  <a:ext uri="{0D108BD9-81ED-4DB2-BD59-A6C34878D82A}">
                    <a16:rowId xmlns:a16="http://schemas.microsoft.com/office/drawing/2014/main" val="1687090376"/>
                  </a:ext>
                </a:extLst>
              </a:tr>
              <a:tr h="276133">
                <a:tc>
                  <a:txBody>
                    <a:bodyPr/>
                    <a:lstStyle/>
                    <a:p>
                      <a:pPr algn="ctr">
                        <a:defRPr sz="900">
                          <a:latin typeface="Nexa Book (Body)"/>
                        </a:defRPr>
                      </a:pPr>
                      <a:r>
                        <a:rPr sz="900">
                          <a:latin typeface="Nexa Book (Body)"/>
                        </a:rPr>
                        <a:t>12</a:t>
                      </a:r>
                    </a:p>
                  </a:txBody>
                  <a:tcPr marL="36000" marR="36000" marT="4763" marB="0" anchor="ctr">
                    <a:solidFill>
                      <a:srgbClr val="FFBFBF"/>
                    </a:solidFill>
                  </a:tcPr>
                </a:tc>
                <a:tc>
                  <a:txBody>
                    <a:bodyPr/>
                    <a:lstStyle/>
                    <a:p>
                      <a:pPr algn="l">
                        <a:defRPr sz="900">
                          <a:latin typeface="Nexa Book (Body)"/>
                        </a:defRPr>
                      </a:pPr>
                      <a:r>
                        <a:rPr sz="900">
                          <a:latin typeface="Nexa Book (Body)"/>
                        </a:rPr>
                        <a:t>Boursin/Salade</a:t>
                      </a:r>
                    </a:p>
                  </a:txBody>
                  <a:tcPr marL="36000" marR="36000" marT="4763" marB="0" anchor="ctr">
                    <a:solidFill>
                      <a:srgbClr val="FFBFBF"/>
                    </a:solidFill>
                  </a:tcPr>
                </a:tc>
                <a:extLst>
                  <a:ext uri="{0D108BD9-81ED-4DB2-BD59-A6C34878D82A}">
                    <a16:rowId xmlns:a16="http://schemas.microsoft.com/office/drawing/2014/main" val="1182192680"/>
                  </a:ext>
                </a:extLst>
              </a:tr>
              <a:tr h="276133">
                <a:tc>
                  <a:txBody>
                    <a:bodyPr/>
                    <a:lstStyle/>
                    <a:p>
                      <a:pPr algn="ctr">
                        <a:defRPr sz="900">
                          <a:latin typeface="Nexa Book (Body)"/>
                        </a:defRPr>
                      </a:pPr>
                      <a:r>
                        <a:rPr sz="900">
                          <a:latin typeface="Nexa Book (Body)"/>
                        </a:rPr>
                        <a:t>13</a:t>
                      </a:r>
                    </a:p>
                  </a:txBody>
                  <a:tcPr marL="36000" marR="36000" marT="4763" marB="0" anchor="ctr">
                    <a:solidFill>
                      <a:srgbClr val="F2F2F2"/>
                    </a:solidFill>
                  </a:tcPr>
                </a:tc>
                <a:tc>
                  <a:txBody>
                    <a:bodyPr/>
                    <a:lstStyle/>
                    <a:p>
                      <a:pPr algn="l">
                        <a:defRPr sz="900">
                          <a:latin typeface="Nexa Book (Body)"/>
                        </a:defRPr>
                      </a:pPr>
                      <a:r>
                        <a:rPr sz="900">
                          <a:latin typeface="Nexa Book (Body)"/>
                        </a:rPr>
                        <a:t>Kiri/Frais A Tartiner</a:t>
                      </a:r>
                    </a:p>
                  </a:txBody>
                  <a:tcPr marL="36000" marR="36000" marT="4763" marB="0" anchor="ctr">
                    <a:solidFill>
                      <a:srgbClr val="F2F2F2"/>
                    </a:solid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9/25/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3771261323"/>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2736"/>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3248">
                <a:tc>
                  <a:txBody>
                    <a:bodyPr/>
                    <a:lstStyle/>
                    <a:p>
                      <a:pPr>
                        <a:defRPr sz="900">
                          <a:latin typeface="Nexa Bold"/>
                        </a:defRPr>
                      </a:pPr>
                      <a:r>
                        <a:t>Savenci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15</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194239132"/>
                  </a:ext>
                </a:extLst>
              </a:tr>
              <a:tr h="463248">
                <a:tc>
                  <a:txBody>
                    <a:bodyPr/>
                    <a:lstStyle/>
                    <a:p>
                      <a:pPr>
                        <a:defRPr sz="900">
                          <a:latin typeface="Nexa Bold"/>
                        </a:defRPr>
                      </a:pPr>
                      <a:r>
                        <a:t>Lait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1.5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1902493471"/>
                  </a:ext>
                </a:extLst>
              </a:tr>
              <a:tr h="463248">
                <a:tc>
                  <a:txBody>
                    <a:bodyPr/>
                    <a:lstStyle/>
                    <a:p>
                      <a:pPr>
                        <a:defRPr sz="900">
                          <a:latin typeface="Nexa Bold"/>
                        </a:defRPr>
                      </a:pPr>
                      <a:r>
                        <a:t>Md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8.33</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107009242"/>
                  </a:ext>
                </a:extLst>
              </a:tr>
              <a:tr h="463248">
                <a:tc>
                  <a:txBody>
                    <a:bodyPr/>
                    <a:lstStyle/>
                    <a:p>
                      <a:pPr>
                        <a:defRPr sz="900">
                          <a:latin typeface="Nexa Bold"/>
                        </a:defRPr>
                      </a:pPr>
                      <a:r>
                        <a:t>Be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5.7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3026263703"/>
                  </a:ext>
                </a:extLst>
              </a:tr>
              <a:tr h="463248">
                <a:tc>
                  <a:txBody>
                    <a:bodyPr/>
                    <a:lstStyle/>
                    <a:p>
                      <a:pPr>
                        <a:defRPr sz="900">
                          <a:latin typeface="Nexa Bold"/>
                        </a:defRPr>
                      </a:pPr>
                      <a:r>
                        <a:t>Mondelez</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2.04</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467206710"/>
                  </a:ext>
                </a:extLst>
              </a:tr>
              <a:tr h="463248">
                <a:tc>
                  <a:txBody>
                    <a:bodyPr/>
                    <a:lstStyle/>
                    <a:p>
                      <a:pPr>
                        <a:defRPr sz="900">
                          <a:latin typeface="Nexa Bold"/>
                        </a:defRPr>
                      </a:pPr>
                      <a:r>
                        <a:t>Lactali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28</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4056983389"/>
                  </a:ext>
                </a:extLst>
              </a:tr>
              <a:tr h="463248">
                <a:tc>
                  <a:txBody>
                    <a:bodyPr/>
                    <a:lstStyle/>
                    <a:p>
                      <a:pPr>
                        <a:defRPr sz="900">
                          <a:latin typeface="Nexa Bold"/>
                        </a:defRPr>
                      </a:pPr>
                      <a:r>
                        <a:t>Oth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pPr>
                      <a:r>
                        <a:t>13.87</a:t>
                      </a: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rgbClr val="FFFFFF"/>
                    </a:solid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9</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Companies/Brands | Frais A Tartiner | Carrefour</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273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Value Share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P3M DYA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a:solidFill>
                            <a:srgbClr val="575555"/>
                          </a:solidFill>
                          <a:latin typeface="Nexa Bold"/>
                        </a:defRPr>
                      </a:pPr>
                      <a:r>
                        <a:t>Avg Price /Kg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3">
                <a:tc>
                  <a:txBody>
                    <a:bodyPr/>
                    <a:lstStyle/>
                    <a:p>
                      <a:pPr>
                        <a:defRPr sz="900">
                          <a:latin typeface="Nexa Bold"/>
                        </a:defRPr>
                      </a:pPr>
                      <a: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273">
                <a:tc>
                  <a:txBody>
                    <a:bodyPr/>
                    <a:lstStyle/>
                    <a:p>
                      <a:pPr>
                        <a:defRPr sz="900">
                          <a:latin typeface="Nexa Bold"/>
                        </a:defRPr>
                      </a:pPr>
                      <a:r>
                        <a:t>Paysan Bret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1.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273">
                <a:tc>
                  <a:txBody>
                    <a:bodyPr/>
                    <a:lstStyle/>
                    <a:p>
                      <a:pPr>
                        <a:defRPr sz="900">
                          <a:latin typeface="Nexa Bold"/>
                        </a:defRPr>
                      </a:pPr>
                      <a: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8.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273">
                <a:tc>
                  <a:txBody>
                    <a:bodyPr/>
                    <a:lstStyle/>
                    <a:p>
                      <a:pPr>
                        <a:defRPr sz="900">
                          <a:latin typeface="Nexa Bold"/>
                        </a:defRPr>
                      </a:pPr>
                      <a:r>
                        <a:t>Tart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273">
                <a:tc>
                  <a:txBody>
                    <a:bodyPr/>
                    <a:lstStyle/>
                    <a:p>
                      <a:pPr>
                        <a:defRPr sz="900">
                          <a:latin typeface="Nexa Bold"/>
                        </a:defRPr>
                      </a:pPr>
                      <a: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5.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273">
                <a:tc>
                  <a:txBody>
                    <a:bodyPr/>
                    <a:lstStyle/>
                    <a:p>
                      <a:pPr>
                        <a:defRPr sz="900">
                          <a:latin typeface="Nexa Bold"/>
                        </a:defRPr>
                      </a:pPr>
                      <a:r>
                        <a:t>Carre Fra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575555"/>
                          </a:solidFill>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273">
                <a:tc>
                  <a:txBody>
                    <a:bodyPr/>
                    <a:lstStyle/>
                    <a:p>
                      <a:pPr>
                        <a:defRPr sz="900">
                          <a:latin typeface="Nexa Bold"/>
                        </a:defRPr>
                      </a:pPr>
                      <a:r>
                        <a:t>Philadelph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2.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FF8080"/>
                          </a:solidFill>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273">
                <a:tc>
                  <a:txBody>
                    <a:bodyPr/>
                    <a:lstStyle/>
                    <a:p>
                      <a:pPr>
                        <a:defRPr sz="900">
                          <a:latin typeface="Nexa Bold"/>
                        </a:defRPr>
                      </a:pPr>
                      <a: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6.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B2DFDC"/>
                          </a:solidFill>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273">
                <a:tc>
                  <a:txBody>
                    <a:bodyPr/>
                    <a:lstStyle/>
                    <a:p>
                      <a:pPr>
                        <a:defRPr sz="900">
                          <a:latin typeface="Nexa Bold"/>
                        </a:defRPr>
                      </a:pPr>
                      <a: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273">
                <a:tc>
                  <a:txBody>
                    <a:bodyPr/>
                    <a:lstStyle/>
                    <a:p>
                      <a:pPr>
                        <a:defRPr sz="900">
                          <a:latin typeface="Nexa Bold"/>
                        </a:defRPr>
                      </a:pPr>
                      <a:r>
                        <a:t>Other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latin typeface="Nexa Book"/>
                        </a:defRPr>
                      </a:pPr>
                      <a:r>
                        <a:t>14.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a:defRPr sz="800">
                          <a:solidFill>
                            <a:srgbClr val="C00000"/>
                          </a:solidFill>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9/25/2025</a:t>
            </a:fld>
            <a:endParaRPr lang="en-US"/>
          </a:p>
        </p:txBody>
      </p:sp>
    </p:spTree>
    <p:extLst>
      <p:ext uri="{BB962C8B-B14F-4D97-AF65-F5344CB8AC3E}">
        <p14:creationId xmlns:p14="http://schemas.microsoft.com/office/powerpoint/2010/main" val="6412681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5.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6.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7.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8.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9.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0.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1.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2.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3.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4.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5.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6.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7.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8.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9.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0.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1.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2.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3.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4.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5.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6.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7.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8.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9.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0.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1.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2.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3.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4.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5.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6.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8968EC3-DB7D-48CB-8134-A45BCEDA63A0}">
  <ds:schemaRefs>
    <ds:schemaRef ds:uri="0ad93b7f-b0cd-4c46-aaaf-ff14495948cf"/>
    <ds:schemaRef ds:uri="http://purl.org/dc/dcmitype/"/>
    <ds:schemaRef ds:uri="http://www.w3.org/XML/1998/namespace"/>
    <ds:schemaRef ds:uri="http://purl.org/dc/elements/1.1/"/>
    <ds:schemaRef ds:uri="474cf4e4-8a51-432b-9e1b-0ea607ac38ff"/>
    <ds:schemaRef ds:uri="http://schemas.microsoft.com/office/2006/documentManagement/types"/>
    <ds:schemaRef ds:uri="http://purl.org/dc/terms/"/>
    <ds:schemaRef ds:uri="http://schemas.microsoft.com/office/infopath/2007/PartnerControls"/>
    <ds:schemaRef ds:uri="http://schemas.openxmlformats.org/package/2006/metadata/core-properties"/>
    <ds:schemaRef ds:uri="http://schemas.microsoft.com/office/2006/metadata/properties"/>
  </ds:schemaRefs>
</ds:datastoreItem>
</file>

<file path=customXml/itemProps2.xml><?xml version="1.0" encoding="utf-8"?>
<ds:datastoreItem xmlns:ds="http://schemas.openxmlformats.org/officeDocument/2006/customXml" ds:itemID="{A463C387-91F7-4F23-8A04-9E635946853C}">
  <ds:schemaRefs>
    <ds:schemaRef ds:uri="http://schemas.microsoft.com/sharepoint/v3/contenttype/forms"/>
  </ds:schemaRefs>
</ds:datastoreItem>
</file>

<file path=customXml/itemProps3.xml><?xml version="1.0" encoding="utf-8"?>
<ds:datastoreItem xmlns:ds="http://schemas.openxmlformats.org/officeDocument/2006/customXml" ds:itemID="{6CBFBEC4-2E96-4DCB-AEBB-C4FAEA748BD6}">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338</TotalTime>
  <Words>12793</Words>
  <Application>Microsoft Office PowerPoint</Application>
  <PresentationFormat>On-screen Show (16:9)</PresentationFormat>
  <Paragraphs>5843</Paragraphs>
  <Slides>80</Slides>
  <Notes>80</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80</vt:i4>
      </vt:variant>
    </vt:vector>
  </HeadingPairs>
  <TitlesOfParts>
    <vt:vector size="90"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Share and Growth by Manufacturer/Brands (Replace with So What)</vt:lpstr>
      <vt:lpstr>Share and Growth by Manufacturer/Brands (Replace with So What)</vt:lpstr>
      <vt:lpstr>Share and Growth by Manufacturer/Brands (Replace with So What)</vt:lpstr>
      <vt:lpstr>Share and Growth by Manufacturer/Brands (Replace with So What)</vt:lpstr>
      <vt:lpstr>Share and Growth by Manufacturer/Brands (Replace with So What)</vt:lpstr>
      <vt:lpstr>Share and Growth by Manufacturer/Brands (Replace with So What)</vt:lpstr>
      <vt:lpstr>Share and Growth by Manufacturer/Brands (Replace with So What)</vt:lpstr>
      <vt:lpstr>Share and Growth by Manufacturer/Brands (Replace with So What)</vt:lpstr>
      <vt:lpstr>Share and Growth by Manufacturer/Brands (Replace with So What)</vt:lpstr>
      <vt:lpstr>Share and Growth by Manufacturer/Brands (Replace with So What)</vt:lpstr>
      <vt:lpstr>Share and Growth by Manufacturer/Brands (Replace with So What)</vt:lpstr>
      <vt:lpstr>Share and Growth by Manufacturer/Brand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Category Evolution Analysis (Replace with So What)</vt:lpstr>
      <vt:lpstr>Category Evolution Analysis (Replace with So What)</vt:lpstr>
      <vt:lpstr>Category Evolution Analysis (Replace with So What)</vt:lpstr>
      <vt:lpstr>Category Evolution Analysis (Replace with So What)</vt:lpstr>
      <vt:lpstr>Category Evolution Analysis (Replace with So What)</vt:lpstr>
      <vt:lpstr>Category Evolution Analysis (Replace with So What)</vt:lpstr>
      <vt:lpstr>Category Evolution Analysis (Replace with So What)</vt:lpstr>
      <vt:lpstr>Category Evolution Analysis (Replace with So What)</vt:lpstr>
      <vt:lpstr>Category Evolution Analysis (Replace with So What)</vt:lpstr>
      <vt:lpstr>Category Evolution Analysis (Replace with So What)</vt:lpstr>
      <vt:lpstr>Category Evolution Analysis (Replace with So What)</vt:lpstr>
      <vt:lpstr>Category Evolution Analysis (Replace with So What)</vt:lpstr>
      <vt:lpstr>Category Evolution Analysis (Replace with So What)</vt:lpstr>
      <vt:lpstr>Category Evolution Analysis (Replace with So What)</vt:lpstr>
      <vt:lpstr>Category Evolution Analysis (Replace with So What)</vt:lpstr>
      <vt:lpstr>Category Evolution Analysis (Replace with So What)</vt:lpstr>
      <vt:lpstr>Share and Growth by Retailer/Channel (Replace with So What)</vt:lpstr>
      <vt:lpstr>Share and Growth by Retailer/Channel (Replace with So What)</vt:lpstr>
      <vt:lpstr>Share and Growth by Retailer/Channel (Replace with So What)</vt:lpstr>
      <vt:lpstr>Share and Growth by Retailer/Channel (Replace with So What)</vt:lpstr>
      <vt:lpstr>Share and Growth by Retailer/Channel (Replace with So What)</vt:lpstr>
      <vt:lpstr>Share and Growth by Retailer/Channel (Replace with So What)</vt:lpstr>
      <vt:lpstr>Share and Growth by Retailer/Channel (Replace with So What)</vt:lpstr>
      <vt:lpstr>Share and Growth by Retailer/Channel (Replace with So What)</vt:lpstr>
      <vt:lpstr>Share and Growth by Retailer/Channel (Replace with So What)</vt:lpstr>
      <vt:lpstr>Share and Growth by Retailer/Channel (Replace with So What)</vt:lpstr>
      <vt:lpstr>Share and Growth by Retailer/Channel (Replace with So What)</vt:lpstr>
      <vt:lpstr>Share and Growth by Retailer/Channel (Replace with So What)</vt:lpstr>
      <vt:lpstr>Share and Growth by Retailer/Channel (Replace with So What)</vt:lpstr>
      <vt:lpstr>Share and Growth by Retailer/Channel (Replace with So What)</vt:lpstr>
      <vt:lpstr>Share and Growth by Retailer/Channel (Replace with So What)</vt:lpstr>
      <vt:lpstr>Share and Growth by Retailer/Channel (Replace with So What)</vt:lpstr>
      <vt:lpstr>Share and Growth by Retailer/Channel (Replace with So What)</vt:lpstr>
      <vt:lpstr>Share and Growth by Retailer/Channel (Replace with So What)</vt:lpstr>
      <vt:lpstr>Share and Growth by Retailer/Channel (Replace with So What)</vt:lpstr>
      <vt:lpstr>Momentum Analysis (Replace with So What)</vt:lpstr>
      <vt:lpstr>Momentum Analysis (Replace with So What)</vt:lpstr>
      <vt:lpstr>Momentum Analysis (Replace with So What)</vt:lpstr>
      <vt:lpstr>Momentum Analysis (Replace with So What)</vt:lpstr>
      <vt:lpstr>Momentum Analysis (Replace with So What)</vt:lpstr>
      <vt:lpstr>Momentum Analysis (Replace with So What)</vt:lpstr>
      <vt:lpstr>Momentum Analysis (Replace with So What)</vt:lpstr>
      <vt:lpstr>Momentum Analysis (Replace with So What)</vt:lpstr>
      <vt:lpstr>Momentum Analysis (Replace with So What)</vt:lpstr>
      <vt:lpstr>Momentum Analysis (Replace with So What)</vt:lpstr>
      <vt:lpstr>Momentum Analysis (Replace with So What)</vt:lpstr>
      <vt:lpstr>Momentum Analysis (Replace with So What)</vt:lpstr>
      <vt:lpstr>Momentum Analysis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ctor Growth vs. Company Growth (Replace with So What)</dc:title>
  <dc:creator>Bhagya RANASINGHE</dc:creator>
  <cp:lastModifiedBy>Aleaa SALAH</cp:lastModifiedBy>
  <cp:revision>41</cp:revision>
  <dcterms:created xsi:type="dcterms:W3CDTF">2024-07-05T07:54:38Z</dcterms:created>
  <dcterms:modified xsi:type="dcterms:W3CDTF">2025-09-25T10:03: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